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680" r:id="rId5"/>
  </p:sldMasterIdLst>
  <p:notesMasterIdLst>
    <p:notesMasterId r:id="rId14"/>
  </p:notesMasterIdLst>
  <p:sldIdLst>
    <p:sldId id="278" r:id="rId6"/>
    <p:sldId id="282" r:id="rId7"/>
    <p:sldId id="2147376864" r:id="rId8"/>
    <p:sldId id="2147472108" r:id="rId9"/>
    <p:sldId id="2147472115" r:id="rId10"/>
    <p:sldId id="2147472111" r:id="rId11"/>
    <p:sldId id="2147472114" r:id="rId12"/>
    <p:sldId id="2147376881" r:id="rId13"/>
  </p:sldIdLst>
  <p:sldSz cx="12192000" cy="6858000"/>
  <p:notesSz cx="6858000" cy="9144000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Lato" panose="020F0502020204030203" pitchFamily="34" charset="0"/>
      <p:regular r:id="rId19"/>
      <p:bold r:id="rId20"/>
      <p:italic r:id="rId21"/>
      <p:boldItalic r:id="rId22"/>
    </p:embeddedFont>
    <p:embeddedFont>
      <p:font typeface="Roboto" panose="02000000000000000000" pitchFamily="2" charset="0"/>
      <p:regular r:id="rId23"/>
      <p:bold r:id="rId24"/>
      <p:italic r:id="rId25"/>
      <p:boldItalic r:id="rId26"/>
    </p:embeddedFont>
  </p:embeddedFont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ollis Bean" initials="" lastIdx="6" clrIdx="0"/>
  <p:cmAuthor id="1" name="Geraldine" initials="G" lastIdx="1" clrIdx="1">
    <p:extLst>
      <p:ext uri="{19B8F6BF-5375-455C-9EA6-DF929625EA0E}">
        <p15:presenceInfo xmlns:p15="http://schemas.microsoft.com/office/powerpoint/2012/main" userId="S::Geraldine.Gorgol@euroapi.com::aba1fe32-316d-40d5-9f81-1ae1de8dcb6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792" autoAdjust="0"/>
  </p:normalViewPr>
  <p:slideViewPr>
    <p:cSldViewPr snapToGrid="0">
      <p:cViewPr varScale="1">
        <p:scale>
          <a:sx n="63" d="100"/>
          <a:sy n="63" d="100"/>
        </p:scale>
        <p:origin x="708" y="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10.fntdata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font" Target="fonts/font5.fntdata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BRILLAC RIVES, Sylvia /FR" userId="4533536b-0a54-42d3-a93b-85183a59dfcd" providerId="ADAL" clId="{21762265-56A6-4CBB-94E6-1D779F8A2B41}"/>
    <pc:docChg chg="modSld">
      <pc:chgData name="CABRILLAC RIVES, Sylvia /FR" userId="4533536b-0a54-42d3-a93b-85183a59dfcd" providerId="ADAL" clId="{21762265-56A6-4CBB-94E6-1D779F8A2B41}" dt="2022-09-14T10:17:43.604" v="27" actId="1036"/>
      <pc:docMkLst>
        <pc:docMk/>
      </pc:docMkLst>
      <pc:sldChg chg="modSp mod">
        <pc:chgData name="CABRILLAC RIVES, Sylvia /FR" userId="4533536b-0a54-42d3-a93b-85183a59dfcd" providerId="ADAL" clId="{21762265-56A6-4CBB-94E6-1D779F8A2B41}" dt="2022-09-14T10:17:43.604" v="27" actId="1036"/>
        <pc:sldMkLst>
          <pc:docMk/>
          <pc:sldMk cId="1988221043" sldId="2147472115"/>
        </pc:sldMkLst>
        <pc:spChg chg="mod">
          <ac:chgData name="CABRILLAC RIVES, Sylvia /FR" userId="4533536b-0a54-42d3-a93b-85183a59dfcd" providerId="ADAL" clId="{21762265-56A6-4CBB-94E6-1D779F8A2B41}" dt="2022-09-14T10:17:24.370" v="15" actId="14100"/>
          <ac:spMkLst>
            <pc:docMk/>
            <pc:sldMk cId="1988221043" sldId="2147472115"/>
            <ac:spMk id="13" creationId="{D9A7859B-E57E-4F89-8D60-983EED7CCCD8}"/>
          </ac:spMkLst>
        </pc:spChg>
        <pc:spChg chg="mod">
          <ac:chgData name="CABRILLAC RIVES, Sylvia /FR" userId="4533536b-0a54-42d3-a93b-85183a59dfcd" providerId="ADAL" clId="{21762265-56A6-4CBB-94E6-1D779F8A2B41}" dt="2022-09-14T10:17:43.604" v="27" actId="1036"/>
          <ac:spMkLst>
            <pc:docMk/>
            <pc:sldMk cId="1988221043" sldId="2147472115"/>
            <ac:spMk id="26" creationId="{BA96E49C-98FB-44D4-80DC-71956B1AAC60}"/>
          </ac:spMkLst>
        </pc:spChg>
        <pc:spChg chg="mod">
          <ac:chgData name="CABRILLAC RIVES, Sylvia /FR" userId="4533536b-0a54-42d3-a93b-85183a59dfcd" providerId="ADAL" clId="{21762265-56A6-4CBB-94E6-1D779F8A2B41}" dt="2022-09-14T10:17:43.604" v="27" actId="1036"/>
          <ac:spMkLst>
            <pc:docMk/>
            <pc:sldMk cId="1988221043" sldId="2147472115"/>
            <ac:spMk id="31" creationId="{A40E4CF0-2F45-4D2F-8560-3ACF49AB0C29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68B8AE-59A9-44DC-A879-5BC76784C79F}" type="datetimeFigureOut">
              <a:rPr lang="en-GB" smtClean="0"/>
              <a:t>14/09/2022</a:t>
            </a:fld>
            <a:endParaRPr lang="en-GB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A4AC8F-E8C6-4215-A702-E28E92092DBE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97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Plan France Relance 100 Milliards , soutien de 40 Milliards par l’EU </a:t>
            </a:r>
          </a:p>
          <a:p>
            <a:r>
              <a:rPr lang="fr-FR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transformations écologique, industrielle et sociale du pays, 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8AC9D-AFA9-4AD2-B261-5F9AA77E032B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1065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Plan France Relance 100 Milliards , soutien de 40 Milliards par l’EU </a:t>
            </a:r>
          </a:p>
          <a:p>
            <a:r>
              <a:rPr lang="fr-FR" b="0" i="0" dirty="0">
                <a:solidFill>
                  <a:srgbClr val="212529"/>
                </a:solidFill>
                <a:effectLst/>
                <a:latin typeface="Roboto" panose="02000000000000000000" pitchFamily="2" charset="0"/>
              </a:rPr>
              <a:t>transformations écologique, industrielle et sociale du pays, 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8AC9D-AFA9-4AD2-B261-5F9AA77E032B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4950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2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9A4581D-92C3-4720-B1DE-5365622D27D1}"/>
              </a:ext>
            </a:extLst>
          </p:cNvPr>
          <p:cNvSpPr/>
          <p:nvPr userDrawn="1"/>
        </p:nvSpPr>
        <p:spPr>
          <a:xfrm>
            <a:off x="3017520" y="2153759"/>
            <a:ext cx="9174480" cy="3922155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1000">
                <a:srgbClr val="300FB0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F430E2B-8E91-45A9-8BDA-D70F09D287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979" y="2305252"/>
            <a:ext cx="6403105" cy="1747837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10000"/>
              </a:lnSpc>
              <a:defRPr sz="29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Document title on several lines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28734CC-133D-4994-9B99-AC8C55903F5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979" y="4571232"/>
            <a:ext cx="6403105" cy="97894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Subtitle</a:t>
            </a:r>
          </a:p>
        </p:txBody>
      </p:sp>
      <p:sp>
        <p:nvSpPr>
          <p:cNvPr id="11" name="Espace réservé pour une image  10">
            <a:extLst>
              <a:ext uri="{FF2B5EF4-FFF2-40B4-BE49-F238E27FC236}">
                <a16:creationId xmlns:a16="http://schemas.microsoft.com/office/drawing/2014/main" id="{4AC3BCCA-2EEB-4E7F-8D3F-805D868EB6A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54250" y="2153760"/>
            <a:ext cx="3958814" cy="3868292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fr-FR" noProof="0" dirty="0"/>
              <a:t>Cliquez sur l'icône pour ajouter une image</a:t>
            </a:r>
            <a:endParaRPr lang="en-GB" noProof="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EDC7B3C8-C610-4915-8588-7FAD9B5CEB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193" y="493955"/>
            <a:ext cx="2761494" cy="1158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1098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 F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14E03D-266E-41C0-86D6-D9CA637B71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2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490D8D5-4577-4102-885E-F7F0BD70EA41}"/>
              </a:ext>
            </a:extLst>
          </p:cNvPr>
          <p:cNvSpPr/>
          <p:nvPr userDrawn="1"/>
        </p:nvSpPr>
        <p:spPr>
          <a:xfrm>
            <a:off x="0" y="0"/>
            <a:ext cx="12192000" cy="15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653EC6-C783-4D9D-8294-81A7A5DA6B6C}"/>
              </a:ext>
            </a:extLst>
          </p:cNvPr>
          <p:cNvSpPr/>
          <p:nvPr userDrawn="1"/>
        </p:nvSpPr>
        <p:spPr>
          <a:xfrm>
            <a:off x="0" y="5310000"/>
            <a:ext cx="12192000" cy="15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3C852FC-EA51-44D5-B586-3FD36AAB2D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1863" y="1984076"/>
            <a:ext cx="6300439" cy="1940944"/>
          </a:xfrm>
        </p:spPr>
        <p:txBody>
          <a:bodyPr anchor="b"/>
          <a:lstStyle>
            <a:lvl1pPr algn="l">
              <a:lnSpc>
                <a:spcPct val="114000"/>
              </a:lnSpc>
              <a:defRPr sz="2100" b="1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of the presentation on several lines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82120A6-D302-4262-9CF2-D3F0232095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1863" y="4140163"/>
            <a:ext cx="6300439" cy="733762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Sub-titles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55775DD-F219-4968-8BD8-E9288697D6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1863" y="4897881"/>
            <a:ext cx="6300439" cy="243464"/>
          </a:xfrm>
        </p:spPr>
        <p:txBody>
          <a:bodyPr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01/14/2022</a:t>
            </a:r>
          </a:p>
        </p:txBody>
      </p:sp>
      <p:pic>
        <p:nvPicPr>
          <p:cNvPr id="14" name="Image 13" descr="Une image contenant texte&#10;&#10;Description générée automatiquement">
            <a:extLst>
              <a:ext uri="{FF2B5EF4-FFF2-40B4-BE49-F238E27FC236}">
                <a16:creationId xmlns:a16="http://schemas.microsoft.com/office/drawing/2014/main" id="{D02ABC82-D629-40F4-8CAF-6094F5FC93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8"/>
          <a:stretch/>
        </p:blipFill>
        <p:spPr>
          <a:xfrm>
            <a:off x="0" y="5357354"/>
            <a:ext cx="8704052" cy="1303163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C65B9EB6-D5A7-4C2B-881E-04C4CB75AEF4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4" y="1548000"/>
            <a:ext cx="4585120" cy="3764125"/>
          </a:xfrm>
          <a:custGeom>
            <a:avLst/>
            <a:gdLst>
              <a:gd name="T0" fmla="*/ 0 w 4294"/>
              <a:gd name="T1" fmla="*/ 3382 h 3382"/>
              <a:gd name="T2" fmla="*/ 2745 w 4294"/>
              <a:gd name="T3" fmla="*/ 3382 h 3382"/>
              <a:gd name="T4" fmla="*/ 2905 w 4294"/>
              <a:gd name="T5" fmla="*/ 3372 h 3382"/>
              <a:gd name="T6" fmla="*/ 3058 w 4294"/>
              <a:gd name="T7" fmla="*/ 3348 h 3382"/>
              <a:gd name="T8" fmla="*/ 3206 w 4294"/>
              <a:gd name="T9" fmla="*/ 3306 h 3382"/>
              <a:gd name="T10" fmla="*/ 3349 w 4294"/>
              <a:gd name="T11" fmla="*/ 3248 h 3382"/>
              <a:gd name="T12" fmla="*/ 3485 w 4294"/>
              <a:gd name="T13" fmla="*/ 3177 h 3382"/>
              <a:gd name="T14" fmla="*/ 3612 w 4294"/>
              <a:gd name="T15" fmla="*/ 3093 h 3382"/>
              <a:gd name="T16" fmla="*/ 3732 w 4294"/>
              <a:gd name="T17" fmla="*/ 2995 h 3382"/>
              <a:gd name="T18" fmla="*/ 3841 w 4294"/>
              <a:gd name="T19" fmla="*/ 2886 h 3382"/>
              <a:gd name="T20" fmla="*/ 3941 w 4294"/>
              <a:gd name="T21" fmla="*/ 2766 h 3382"/>
              <a:gd name="T22" fmla="*/ 4031 w 4294"/>
              <a:gd name="T23" fmla="*/ 2637 h 3382"/>
              <a:gd name="T24" fmla="*/ 4109 w 4294"/>
              <a:gd name="T25" fmla="*/ 2497 h 3382"/>
              <a:gd name="T26" fmla="*/ 4172 w 4294"/>
              <a:gd name="T27" fmla="*/ 2350 h 3382"/>
              <a:gd name="T28" fmla="*/ 4224 w 4294"/>
              <a:gd name="T29" fmla="*/ 2194 h 3382"/>
              <a:gd name="T30" fmla="*/ 4264 w 4294"/>
              <a:gd name="T31" fmla="*/ 2031 h 3382"/>
              <a:gd name="T32" fmla="*/ 4286 w 4294"/>
              <a:gd name="T33" fmla="*/ 1863 h 3382"/>
              <a:gd name="T34" fmla="*/ 4294 w 4294"/>
              <a:gd name="T35" fmla="*/ 1690 h 3382"/>
              <a:gd name="T36" fmla="*/ 4292 w 4294"/>
              <a:gd name="T37" fmla="*/ 1604 h 3382"/>
              <a:gd name="T38" fmla="*/ 4276 w 4294"/>
              <a:gd name="T39" fmla="*/ 1433 h 3382"/>
              <a:gd name="T40" fmla="*/ 4246 w 4294"/>
              <a:gd name="T41" fmla="*/ 1267 h 3382"/>
              <a:gd name="T42" fmla="*/ 4200 w 4294"/>
              <a:gd name="T43" fmla="*/ 1108 h 3382"/>
              <a:gd name="T44" fmla="*/ 4143 w 4294"/>
              <a:gd name="T45" fmla="*/ 957 h 3382"/>
              <a:gd name="T46" fmla="*/ 4071 w 4294"/>
              <a:gd name="T47" fmla="*/ 813 h 3382"/>
              <a:gd name="T48" fmla="*/ 3987 w 4294"/>
              <a:gd name="T49" fmla="*/ 678 h 3382"/>
              <a:gd name="T50" fmla="*/ 3893 w 4294"/>
              <a:gd name="T51" fmla="*/ 554 h 3382"/>
              <a:gd name="T52" fmla="*/ 3788 w 4294"/>
              <a:gd name="T53" fmla="*/ 438 h 3382"/>
              <a:gd name="T54" fmla="*/ 3672 w 4294"/>
              <a:gd name="T55" fmla="*/ 335 h 3382"/>
              <a:gd name="T56" fmla="*/ 3548 w 4294"/>
              <a:gd name="T57" fmla="*/ 243 h 3382"/>
              <a:gd name="T58" fmla="*/ 3417 w 4294"/>
              <a:gd name="T59" fmla="*/ 165 h 3382"/>
              <a:gd name="T60" fmla="*/ 3279 w 4294"/>
              <a:gd name="T61" fmla="*/ 102 h 3382"/>
              <a:gd name="T62" fmla="*/ 3134 w 4294"/>
              <a:gd name="T63" fmla="*/ 52 h 3382"/>
              <a:gd name="T64" fmla="*/ 2982 w 4294"/>
              <a:gd name="T65" fmla="*/ 18 h 3382"/>
              <a:gd name="T66" fmla="*/ 2825 w 4294"/>
              <a:gd name="T67" fmla="*/ 2 h 3382"/>
              <a:gd name="T68" fmla="*/ 0 w 4294"/>
              <a:gd name="T69" fmla="*/ 0 h 3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294" h="3382">
                <a:moveTo>
                  <a:pt x="0" y="0"/>
                </a:moveTo>
                <a:lnTo>
                  <a:pt x="0" y="3382"/>
                </a:lnTo>
                <a:lnTo>
                  <a:pt x="2745" y="3382"/>
                </a:lnTo>
                <a:lnTo>
                  <a:pt x="2745" y="3382"/>
                </a:lnTo>
                <a:lnTo>
                  <a:pt x="2825" y="3380"/>
                </a:lnTo>
                <a:lnTo>
                  <a:pt x="2905" y="3372"/>
                </a:lnTo>
                <a:lnTo>
                  <a:pt x="2982" y="3362"/>
                </a:lnTo>
                <a:lnTo>
                  <a:pt x="3058" y="3348"/>
                </a:lnTo>
                <a:lnTo>
                  <a:pt x="3134" y="3328"/>
                </a:lnTo>
                <a:lnTo>
                  <a:pt x="3206" y="3306"/>
                </a:lnTo>
                <a:lnTo>
                  <a:pt x="3279" y="3278"/>
                </a:lnTo>
                <a:lnTo>
                  <a:pt x="3349" y="3248"/>
                </a:lnTo>
                <a:lnTo>
                  <a:pt x="3417" y="3215"/>
                </a:lnTo>
                <a:lnTo>
                  <a:pt x="3485" y="3177"/>
                </a:lnTo>
                <a:lnTo>
                  <a:pt x="3548" y="3137"/>
                </a:lnTo>
                <a:lnTo>
                  <a:pt x="3612" y="3093"/>
                </a:lnTo>
                <a:lnTo>
                  <a:pt x="3672" y="3045"/>
                </a:lnTo>
                <a:lnTo>
                  <a:pt x="3732" y="2995"/>
                </a:lnTo>
                <a:lnTo>
                  <a:pt x="3788" y="2942"/>
                </a:lnTo>
                <a:lnTo>
                  <a:pt x="3841" y="2886"/>
                </a:lnTo>
                <a:lnTo>
                  <a:pt x="3893" y="2828"/>
                </a:lnTo>
                <a:lnTo>
                  <a:pt x="3941" y="2766"/>
                </a:lnTo>
                <a:lnTo>
                  <a:pt x="3987" y="2702"/>
                </a:lnTo>
                <a:lnTo>
                  <a:pt x="4031" y="2637"/>
                </a:lnTo>
                <a:lnTo>
                  <a:pt x="4071" y="2567"/>
                </a:lnTo>
                <a:lnTo>
                  <a:pt x="4109" y="2497"/>
                </a:lnTo>
                <a:lnTo>
                  <a:pt x="4143" y="2423"/>
                </a:lnTo>
                <a:lnTo>
                  <a:pt x="4172" y="2350"/>
                </a:lnTo>
                <a:lnTo>
                  <a:pt x="4200" y="2272"/>
                </a:lnTo>
                <a:lnTo>
                  <a:pt x="4224" y="2194"/>
                </a:lnTo>
                <a:lnTo>
                  <a:pt x="4246" y="2113"/>
                </a:lnTo>
                <a:lnTo>
                  <a:pt x="4264" y="2031"/>
                </a:lnTo>
                <a:lnTo>
                  <a:pt x="4276" y="1947"/>
                </a:lnTo>
                <a:lnTo>
                  <a:pt x="4286" y="1863"/>
                </a:lnTo>
                <a:lnTo>
                  <a:pt x="4292" y="1778"/>
                </a:lnTo>
                <a:lnTo>
                  <a:pt x="4294" y="1690"/>
                </a:lnTo>
                <a:lnTo>
                  <a:pt x="4294" y="1690"/>
                </a:lnTo>
                <a:lnTo>
                  <a:pt x="4292" y="1604"/>
                </a:lnTo>
                <a:lnTo>
                  <a:pt x="4286" y="1517"/>
                </a:lnTo>
                <a:lnTo>
                  <a:pt x="4276" y="1433"/>
                </a:lnTo>
                <a:lnTo>
                  <a:pt x="4264" y="1349"/>
                </a:lnTo>
                <a:lnTo>
                  <a:pt x="4246" y="1267"/>
                </a:lnTo>
                <a:lnTo>
                  <a:pt x="4224" y="1188"/>
                </a:lnTo>
                <a:lnTo>
                  <a:pt x="4200" y="1108"/>
                </a:lnTo>
                <a:lnTo>
                  <a:pt x="4172" y="1032"/>
                </a:lnTo>
                <a:lnTo>
                  <a:pt x="4143" y="957"/>
                </a:lnTo>
                <a:lnTo>
                  <a:pt x="4109" y="885"/>
                </a:lnTo>
                <a:lnTo>
                  <a:pt x="4071" y="813"/>
                </a:lnTo>
                <a:lnTo>
                  <a:pt x="4031" y="745"/>
                </a:lnTo>
                <a:lnTo>
                  <a:pt x="3987" y="678"/>
                </a:lnTo>
                <a:lnTo>
                  <a:pt x="3941" y="614"/>
                </a:lnTo>
                <a:lnTo>
                  <a:pt x="3893" y="554"/>
                </a:lnTo>
                <a:lnTo>
                  <a:pt x="3841" y="494"/>
                </a:lnTo>
                <a:lnTo>
                  <a:pt x="3788" y="438"/>
                </a:lnTo>
                <a:lnTo>
                  <a:pt x="3732" y="385"/>
                </a:lnTo>
                <a:lnTo>
                  <a:pt x="3672" y="335"/>
                </a:lnTo>
                <a:lnTo>
                  <a:pt x="3612" y="289"/>
                </a:lnTo>
                <a:lnTo>
                  <a:pt x="3548" y="243"/>
                </a:lnTo>
                <a:lnTo>
                  <a:pt x="3485" y="203"/>
                </a:lnTo>
                <a:lnTo>
                  <a:pt x="3417" y="165"/>
                </a:lnTo>
                <a:lnTo>
                  <a:pt x="3349" y="132"/>
                </a:lnTo>
                <a:lnTo>
                  <a:pt x="3279" y="102"/>
                </a:lnTo>
                <a:lnTo>
                  <a:pt x="3206" y="76"/>
                </a:lnTo>
                <a:lnTo>
                  <a:pt x="3134" y="52"/>
                </a:lnTo>
                <a:lnTo>
                  <a:pt x="3058" y="34"/>
                </a:lnTo>
                <a:lnTo>
                  <a:pt x="2982" y="18"/>
                </a:lnTo>
                <a:lnTo>
                  <a:pt x="2905" y="8"/>
                </a:lnTo>
                <a:lnTo>
                  <a:pt x="2825" y="2"/>
                </a:lnTo>
                <a:lnTo>
                  <a:pt x="2745" y="0"/>
                </a:lnTo>
                <a:lnTo>
                  <a:pt x="0" y="0"/>
                </a:lnTo>
                <a:close/>
              </a:path>
            </a:pathLst>
          </a:custGeom>
          <a:blipFill dpi="0" rotWithShape="0">
            <a:blip r:embed="rId3"/>
            <a:srcRect/>
            <a:stretch>
              <a:fillRect l="-36833" t="-53670" r="-64225" b="-15750"/>
            </a:stretch>
          </a:blip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E1CE14E-E9B2-463D-BEE4-E0CBB52226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60" b="22028"/>
          <a:stretch/>
        </p:blipFill>
        <p:spPr>
          <a:xfrm>
            <a:off x="477239" y="362309"/>
            <a:ext cx="2257335" cy="836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3127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 F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14E03D-266E-41C0-86D6-D9CA637B71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2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490D8D5-4577-4102-885E-F7F0BD70EA41}"/>
              </a:ext>
            </a:extLst>
          </p:cNvPr>
          <p:cNvSpPr/>
          <p:nvPr userDrawn="1"/>
        </p:nvSpPr>
        <p:spPr>
          <a:xfrm>
            <a:off x="0" y="0"/>
            <a:ext cx="12192000" cy="15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653EC6-C783-4D9D-8294-81A7A5DA6B6C}"/>
              </a:ext>
            </a:extLst>
          </p:cNvPr>
          <p:cNvSpPr/>
          <p:nvPr userDrawn="1"/>
        </p:nvSpPr>
        <p:spPr>
          <a:xfrm>
            <a:off x="0" y="5310000"/>
            <a:ext cx="12192000" cy="15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3C852FC-EA51-44D5-B586-3FD36AAB2D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1863" y="1984076"/>
            <a:ext cx="6300439" cy="1940944"/>
          </a:xfrm>
        </p:spPr>
        <p:txBody>
          <a:bodyPr anchor="b"/>
          <a:lstStyle>
            <a:lvl1pPr algn="l">
              <a:lnSpc>
                <a:spcPct val="114000"/>
              </a:lnSpc>
              <a:defRPr sz="21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de la présentation sur plusieurs lignes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82120A6-D302-4262-9CF2-D3F0232095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1863" y="4140163"/>
            <a:ext cx="6300439" cy="733762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dirty="0"/>
              <a:t>Sous-titre de la présentation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55775DD-F219-4968-8BD8-E9288697D6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1863" y="4897881"/>
            <a:ext cx="6300439" cy="243464"/>
          </a:xfrm>
        </p:spPr>
        <p:txBody>
          <a:bodyPr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r>
              <a:rPr lang="fr-FR"/>
              <a:t>00/00/2021</a:t>
            </a:r>
            <a:endParaRPr lang="fr-FR" dirty="0"/>
          </a:p>
        </p:txBody>
      </p:sp>
      <p:pic>
        <p:nvPicPr>
          <p:cNvPr id="14" name="Image 13" descr="Une image contenant texte&#10;&#10;Description générée automatiquement">
            <a:extLst>
              <a:ext uri="{FF2B5EF4-FFF2-40B4-BE49-F238E27FC236}">
                <a16:creationId xmlns:a16="http://schemas.microsoft.com/office/drawing/2014/main" id="{D02ABC82-D629-40F4-8CAF-6094F5FC93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8"/>
          <a:stretch/>
        </p:blipFill>
        <p:spPr>
          <a:xfrm>
            <a:off x="0" y="5357354"/>
            <a:ext cx="8704052" cy="1303163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C65B9EB6-D5A7-4C2B-881E-04C4CB75AEF4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4" y="1548000"/>
            <a:ext cx="4585120" cy="3764125"/>
          </a:xfrm>
          <a:custGeom>
            <a:avLst/>
            <a:gdLst>
              <a:gd name="T0" fmla="*/ 0 w 4294"/>
              <a:gd name="T1" fmla="*/ 3382 h 3382"/>
              <a:gd name="T2" fmla="*/ 2745 w 4294"/>
              <a:gd name="T3" fmla="*/ 3382 h 3382"/>
              <a:gd name="T4" fmla="*/ 2905 w 4294"/>
              <a:gd name="T5" fmla="*/ 3372 h 3382"/>
              <a:gd name="T6" fmla="*/ 3058 w 4294"/>
              <a:gd name="T7" fmla="*/ 3348 h 3382"/>
              <a:gd name="T8" fmla="*/ 3206 w 4294"/>
              <a:gd name="T9" fmla="*/ 3306 h 3382"/>
              <a:gd name="T10" fmla="*/ 3349 w 4294"/>
              <a:gd name="T11" fmla="*/ 3248 h 3382"/>
              <a:gd name="T12" fmla="*/ 3485 w 4294"/>
              <a:gd name="T13" fmla="*/ 3177 h 3382"/>
              <a:gd name="T14" fmla="*/ 3612 w 4294"/>
              <a:gd name="T15" fmla="*/ 3093 h 3382"/>
              <a:gd name="T16" fmla="*/ 3732 w 4294"/>
              <a:gd name="T17" fmla="*/ 2995 h 3382"/>
              <a:gd name="T18" fmla="*/ 3841 w 4294"/>
              <a:gd name="T19" fmla="*/ 2886 h 3382"/>
              <a:gd name="T20" fmla="*/ 3941 w 4294"/>
              <a:gd name="T21" fmla="*/ 2766 h 3382"/>
              <a:gd name="T22" fmla="*/ 4031 w 4294"/>
              <a:gd name="T23" fmla="*/ 2637 h 3382"/>
              <a:gd name="T24" fmla="*/ 4109 w 4294"/>
              <a:gd name="T25" fmla="*/ 2497 h 3382"/>
              <a:gd name="T26" fmla="*/ 4172 w 4294"/>
              <a:gd name="T27" fmla="*/ 2350 h 3382"/>
              <a:gd name="T28" fmla="*/ 4224 w 4294"/>
              <a:gd name="T29" fmla="*/ 2194 h 3382"/>
              <a:gd name="T30" fmla="*/ 4264 w 4294"/>
              <a:gd name="T31" fmla="*/ 2031 h 3382"/>
              <a:gd name="T32" fmla="*/ 4286 w 4294"/>
              <a:gd name="T33" fmla="*/ 1863 h 3382"/>
              <a:gd name="T34" fmla="*/ 4294 w 4294"/>
              <a:gd name="T35" fmla="*/ 1690 h 3382"/>
              <a:gd name="T36" fmla="*/ 4292 w 4294"/>
              <a:gd name="T37" fmla="*/ 1604 h 3382"/>
              <a:gd name="T38" fmla="*/ 4276 w 4294"/>
              <a:gd name="T39" fmla="*/ 1433 h 3382"/>
              <a:gd name="T40" fmla="*/ 4246 w 4294"/>
              <a:gd name="T41" fmla="*/ 1267 h 3382"/>
              <a:gd name="T42" fmla="*/ 4200 w 4294"/>
              <a:gd name="T43" fmla="*/ 1108 h 3382"/>
              <a:gd name="T44" fmla="*/ 4143 w 4294"/>
              <a:gd name="T45" fmla="*/ 957 h 3382"/>
              <a:gd name="T46" fmla="*/ 4071 w 4294"/>
              <a:gd name="T47" fmla="*/ 813 h 3382"/>
              <a:gd name="T48" fmla="*/ 3987 w 4294"/>
              <a:gd name="T49" fmla="*/ 678 h 3382"/>
              <a:gd name="T50" fmla="*/ 3893 w 4294"/>
              <a:gd name="T51" fmla="*/ 554 h 3382"/>
              <a:gd name="T52" fmla="*/ 3788 w 4294"/>
              <a:gd name="T53" fmla="*/ 438 h 3382"/>
              <a:gd name="T54" fmla="*/ 3672 w 4294"/>
              <a:gd name="T55" fmla="*/ 335 h 3382"/>
              <a:gd name="T56" fmla="*/ 3548 w 4294"/>
              <a:gd name="T57" fmla="*/ 243 h 3382"/>
              <a:gd name="T58" fmla="*/ 3417 w 4294"/>
              <a:gd name="T59" fmla="*/ 165 h 3382"/>
              <a:gd name="T60" fmla="*/ 3279 w 4294"/>
              <a:gd name="T61" fmla="*/ 102 h 3382"/>
              <a:gd name="T62" fmla="*/ 3134 w 4294"/>
              <a:gd name="T63" fmla="*/ 52 h 3382"/>
              <a:gd name="T64" fmla="*/ 2982 w 4294"/>
              <a:gd name="T65" fmla="*/ 18 h 3382"/>
              <a:gd name="T66" fmla="*/ 2825 w 4294"/>
              <a:gd name="T67" fmla="*/ 2 h 3382"/>
              <a:gd name="T68" fmla="*/ 0 w 4294"/>
              <a:gd name="T69" fmla="*/ 0 h 3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294" h="3382">
                <a:moveTo>
                  <a:pt x="0" y="0"/>
                </a:moveTo>
                <a:lnTo>
                  <a:pt x="0" y="3382"/>
                </a:lnTo>
                <a:lnTo>
                  <a:pt x="2745" y="3382"/>
                </a:lnTo>
                <a:lnTo>
                  <a:pt x="2745" y="3382"/>
                </a:lnTo>
                <a:lnTo>
                  <a:pt x="2825" y="3380"/>
                </a:lnTo>
                <a:lnTo>
                  <a:pt x="2905" y="3372"/>
                </a:lnTo>
                <a:lnTo>
                  <a:pt x="2982" y="3362"/>
                </a:lnTo>
                <a:lnTo>
                  <a:pt x="3058" y="3348"/>
                </a:lnTo>
                <a:lnTo>
                  <a:pt x="3134" y="3328"/>
                </a:lnTo>
                <a:lnTo>
                  <a:pt x="3206" y="3306"/>
                </a:lnTo>
                <a:lnTo>
                  <a:pt x="3279" y="3278"/>
                </a:lnTo>
                <a:lnTo>
                  <a:pt x="3349" y="3248"/>
                </a:lnTo>
                <a:lnTo>
                  <a:pt x="3417" y="3215"/>
                </a:lnTo>
                <a:lnTo>
                  <a:pt x="3485" y="3177"/>
                </a:lnTo>
                <a:lnTo>
                  <a:pt x="3548" y="3137"/>
                </a:lnTo>
                <a:lnTo>
                  <a:pt x="3612" y="3093"/>
                </a:lnTo>
                <a:lnTo>
                  <a:pt x="3672" y="3045"/>
                </a:lnTo>
                <a:lnTo>
                  <a:pt x="3732" y="2995"/>
                </a:lnTo>
                <a:lnTo>
                  <a:pt x="3788" y="2942"/>
                </a:lnTo>
                <a:lnTo>
                  <a:pt x="3841" y="2886"/>
                </a:lnTo>
                <a:lnTo>
                  <a:pt x="3893" y="2828"/>
                </a:lnTo>
                <a:lnTo>
                  <a:pt x="3941" y="2766"/>
                </a:lnTo>
                <a:lnTo>
                  <a:pt x="3987" y="2702"/>
                </a:lnTo>
                <a:lnTo>
                  <a:pt x="4031" y="2637"/>
                </a:lnTo>
                <a:lnTo>
                  <a:pt x="4071" y="2567"/>
                </a:lnTo>
                <a:lnTo>
                  <a:pt x="4109" y="2497"/>
                </a:lnTo>
                <a:lnTo>
                  <a:pt x="4143" y="2423"/>
                </a:lnTo>
                <a:lnTo>
                  <a:pt x="4172" y="2350"/>
                </a:lnTo>
                <a:lnTo>
                  <a:pt x="4200" y="2272"/>
                </a:lnTo>
                <a:lnTo>
                  <a:pt x="4224" y="2194"/>
                </a:lnTo>
                <a:lnTo>
                  <a:pt x="4246" y="2113"/>
                </a:lnTo>
                <a:lnTo>
                  <a:pt x="4264" y="2031"/>
                </a:lnTo>
                <a:lnTo>
                  <a:pt x="4276" y="1947"/>
                </a:lnTo>
                <a:lnTo>
                  <a:pt x="4286" y="1863"/>
                </a:lnTo>
                <a:lnTo>
                  <a:pt x="4292" y="1778"/>
                </a:lnTo>
                <a:lnTo>
                  <a:pt x="4294" y="1690"/>
                </a:lnTo>
                <a:lnTo>
                  <a:pt x="4294" y="1690"/>
                </a:lnTo>
                <a:lnTo>
                  <a:pt x="4292" y="1604"/>
                </a:lnTo>
                <a:lnTo>
                  <a:pt x="4286" y="1517"/>
                </a:lnTo>
                <a:lnTo>
                  <a:pt x="4276" y="1433"/>
                </a:lnTo>
                <a:lnTo>
                  <a:pt x="4264" y="1349"/>
                </a:lnTo>
                <a:lnTo>
                  <a:pt x="4246" y="1267"/>
                </a:lnTo>
                <a:lnTo>
                  <a:pt x="4224" y="1188"/>
                </a:lnTo>
                <a:lnTo>
                  <a:pt x="4200" y="1108"/>
                </a:lnTo>
                <a:lnTo>
                  <a:pt x="4172" y="1032"/>
                </a:lnTo>
                <a:lnTo>
                  <a:pt x="4143" y="957"/>
                </a:lnTo>
                <a:lnTo>
                  <a:pt x="4109" y="885"/>
                </a:lnTo>
                <a:lnTo>
                  <a:pt x="4071" y="813"/>
                </a:lnTo>
                <a:lnTo>
                  <a:pt x="4031" y="745"/>
                </a:lnTo>
                <a:lnTo>
                  <a:pt x="3987" y="678"/>
                </a:lnTo>
                <a:lnTo>
                  <a:pt x="3941" y="614"/>
                </a:lnTo>
                <a:lnTo>
                  <a:pt x="3893" y="554"/>
                </a:lnTo>
                <a:lnTo>
                  <a:pt x="3841" y="494"/>
                </a:lnTo>
                <a:lnTo>
                  <a:pt x="3788" y="438"/>
                </a:lnTo>
                <a:lnTo>
                  <a:pt x="3732" y="385"/>
                </a:lnTo>
                <a:lnTo>
                  <a:pt x="3672" y="335"/>
                </a:lnTo>
                <a:lnTo>
                  <a:pt x="3612" y="289"/>
                </a:lnTo>
                <a:lnTo>
                  <a:pt x="3548" y="243"/>
                </a:lnTo>
                <a:lnTo>
                  <a:pt x="3485" y="203"/>
                </a:lnTo>
                <a:lnTo>
                  <a:pt x="3417" y="165"/>
                </a:lnTo>
                <a:lnTo>
                  <a:pt x="3349" y="132"/>
                </a:lnTo>
                <a:lnTo>
                  <a:pt x="3279" y="102"/>
                </a:lnTo>
                <a:lnTo>
                  <a:pt x="3206" y="76"/>
                </a:lnTo>
                <a:lnTo>
                  <a:pt x="3134" y="52"/>
                </a:lnTo>
                <a:lnTo>
                  <a:pt x="3058" y="34"/>
                </a:lnTo>
                <a:lnTo>
                  <a:pt x="2982" y="18"/>
                </a:lnTo>
                <a:lnTo>
                  <a:pt x="2905" y="8"/>
                </a:lnTo>
                <a:lnTo>
                  <a:pt x="2825" y="2"/>
                </a:lnTo>
                <a:lnTo>
                  <a:pt x="2745" y="0"/>
                </a:lnTo>
                <a:lnTo>
                  <a:pt x="0" y="0"/>
                </a:lnTo>
                <a:close/>
              </a:path>
            </a:pathLst>
          </a:custGeom>
          <a:blipFill dpi="0" rotWithShape="0">
            <a:blip r:embed="rId3"/>
            <a:srcRect/>
            <a:stretch>
              <a:fillRect l="-36833" t="-53670" r="-64225" b="-15750"/>
            </a:stretch>
          </a:blip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E1CE14E-E9B2-463D-BEE4-E0CBB52226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60" b="22028"/>
          <a:stretch/>
        </p:blipFill>
        <p:spPr>
          <a:xfrm>
            <a:off x="477239" y="362309"/>
            <a:ext cx="2257335" cy="836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1028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414E03D-266E-41C0-86D6-D9CA637B71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82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490D8D5-4577-4102-885E-F7F0BD70EA41}"/>
              </a:ext>
            </a:extLst>
          </p:cNvPr>
          <p:cNvSpPr/>
          <p:nvPr userDrawn="1"/>
        </p:nvSpPr>
        <p:spPr>
          <a:xfrm>
            <a:off x="0" y="0"/>
            <a:ext cx="12192000" cy="15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F653EC6-C783-4D9D-8294-81A7A5DA6B6C}"/>
              </a:ext>
            </a:extLst>
          </p:cNvPr>
          <p:cNvSpPr/>
          <p:nvPr userDrawn="1"/>
        </p:nvSpPr>
        <p:spPr>
          <a:xfrm>
            <a:off x="0" y="5310000"/>
            <a:ext cx="12192000" cy="154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3C852FC-EA51-44D5-B586-3FD36AAB2D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151863" y="1984076"/>
            <a:ext cx="6300439" cy="1940944"/>
          </a:xfrm>
        </p:spPr>
        <p:txBody>
          <a:bodyPr anchor="b"/>
          <a:lstStyle>
            <a:lvl1pPr algn="l">
              <a:lnSpc>
                <a:spcPct val="114000"/>
              </a:lnSpc>
              <a:defRPr sz="2100" b="1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on several lines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82120A6-D302-4262-9CF2-D3F0232095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51863" y="4140163"/>
            <a:ext cx="6300439" cy="733762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Sous-titre de la présentation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55775DD-F219-4968-8BD8-E9288697D66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1863" y="4897881"/>
            <a:ext cx="6300439" cy="243464"/>
          </a:xfrm>
        </p:spPr>
        <p:txBody>
          <a:bodyPr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00/00/2021</a:t>
            </a:r>
          </a:p>
        </p:txBody>
      </p:sp>
      <p:pic>
        <p:nvPicPr>
          <p:cNvPr id="14" name="Image 13" descr="Une image contenant texte&#10;&#10;Description générée automatiquement">
            <a:extLst>
              <a:ext uri="{FF2B5EF4-FFF2-40B4-BE49-F238E27FC236}">
                <a16:creationId xmlns:a16="http://schemas.microsoft.com/office/drawing/2014/main" id="{B4B25003-0861-4B7E-A753-C5BD375F99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88"/>
          <a:stretch/>
        </p:blipFill>
        <p:spPr>
          <a:xfrm>
            <a:off x="0" y="5357354"/>
            <a:ext cx="8704052" cy="1303163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757290DB-E146-4646-8B9A-D333485D47FD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-4" y="1548000"/>
            <a:ext cx="4585120" cy="3764125"/>
          </a:xfrm>
          <a:custGeom>
            <a:avLst/>
            <a:gdLst>
              <a:gd name="T0" fmla="*/ 0 w 4294"/>
              <a:gd name="T1" fmla="*/ 3382 h 3382"/>
              <a:gd name="T2" fmla="*/ 2745 w 4294"/>
              <a:gd name="T3" fmla="*/ 3382 h 3382"/>
              <a:gd name="T4" fmla="*/ 2905 w 4294"/>
              <a:gd name="T5" fmla="*/ 3372 h 3382"/>
              <a:gd name="T6" fmla="*/ 3058 w 4294"/>
              <a:gd name="T7" fmla="*/ 3348 h 3382"/>
              <a:gd name="T8" fmla="*/ 3206 w 4294"/>
              <a:gd name="T9" fmla="*/ 3306 h 3382"/>
              <a:gd name="T10" fmla="*/ 3349 w 4294"/>
              <a:gd name="T11" fmla="*/ 3248 h 3382"/>
              <a:gd name="T12" fmla="*/ 3485 w 4294"/>
              <a:gd name="T13" fmla="*/ 3177 h 3382"/>
              <a:gd name="T14" fmla="*/ 3612 w 4294"/>
              <a:gd name="T15" fmla="*/ 3093 h 3382"/>
              <a:gd name="T16" fmla="*/ 3732 w 4294"/>
              <a:gd name="T17" fmla="*/ 2995 h 3382"/>
              <a:gd name="T18" fmla="*/ 3841 w 4294"/>
              <a:gd name="T19" fmla="*/ 2886 h 3382"/>
              <a:gd name="T20" fmla="*/ 3941 w 4294"/>
              <a:gd name="T21" fmla="*/ 2766 h 3382"/>
              <a:gd name="T22" fmla="*/ 4031 w 4294"/>
              <a:gd name="T23" fmla="*/ 2637 h 3382"/>
              <a:gd name="T24" fmla="*/ 4109 w 4294"/>
              <a:gd name="T25" fmla="*/ 2497 h 3382"/>
              <a:gd name="T26" fmla="*/ 4172 w 4294"/>
              <a:gd name="T27" fmla="*/ 2350 h 3382"/>
              <a:gd name="T28" fmla="*/ 4224 w 4294"/>
              <a:gd name="T29" fmla="*/ 2194 h 3382"/>
              <a:gd name="T30" fmla="*/ 4264 w 4294"/>
              <a:gd name="T31" fmla="*/ 2031 h 3382"/>
              <a:gd name="T32" fmla="*/ 4286 w 4294"/>
              <a:gd name="T33" fmla="*/ 1863 h 3382"/>
              <a:gd name="T34" fmla="*/ 4294 w 4294"/>
              <a:gd name="T35" fmla="*/ 1690 h 3382"/>
              <a:gd name="T36" fmla="*/ 4292 w 4294"/>
              <a:gd name="T37" fmla="*/ 1604 h 3382"/>
              <a:gd name="T38" fmla="*/ 4276 w 4294"/>
              <a:gd name="T39" fmla="*/ 1433 h 3382"/>
              <a:gd name="T40" fmla="*/ 4246 w 4294"/>
              <a:gd name="T41" fmla="*/ 1267 h 3382"/>
              <a:gd name="T42" fmla="*/ 4200 w 4294"/>
              <a:gd name="T43" fmla="*/ 1108 h 3382"/>
              <a:gd name="T44" fmla="*/ 4143 w 4294"/>
              <a:gd name="T45" fmla="*/ 957 h 3382"/>
              <a:gd name="T46" fmla="*/ 4071 w 4294"/>
              <a:gd name="T47" fmla="*/ 813 h 3382"/>
              <a:gd name="T48" fmla="*/ 3987 w 4294"/>
              <a:gd name="T49" fmla="*/ 678 h 3382"/>
              <a:gd name="T50" fmla="*/ 3893 w 4294"/>
              <a:gd name="T51" fmla="*/ 554 h 3382"/>
              <a:gd name="T52" fmla="*/ 3788 w 4294"/>
              <a:gd name="T53" fmla="*/ 438 h 3382"/>
              <a:gd name="T54" fmla="*/ 3672 w 4294"/>
              <a:gd name="T55" fmla="*/ 335 h 3382"/>
              <a:gd name="T56" fmla="*/ 3548 w 4294"/>
              <a:gd name="T57" fmla="*/ 243 h 3382"/>
              <a:gd name="T58" fmla="*/ 3417 w 4294"/>
              <a:gd name="T59" fmla="*/ 165 h 3382"/>
              <a:gd name="T60" fmla="*/ 3279 w 4294"/>
              <a:gd name="T61" fmla="*/ 102 h 3382"/>
              <a:gd name="T62" fmla="*/ 3134 w 4294"/>
              <a:gd name="T63" fmla="*/ 52 h 3382"/>
              <a:gd name="T64" fmla="*/ 2982 w 4294"/>
              <a:gd name="T65" fmla="*/ 18 h 3382"/>
              <a:gd name="T66" fmla="*/ 2825 w 4294"/>
              <a:gd name="T67" fmla="*/ 2 h 3382"/>
              <a:gd name="T68" fmla="*/ 0 w 4294"/>
              <a:gd name="T69" fmla="*/ 0 h 3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294" h="3382">
                <a:moveTo>
                  <a:pt x="0" y="0"/>
                </a:moveTo>
                <a:lnTo>
                  <a:pt x="0" y="3382"/>
                </a:lnTo>
                <a:lnTo>
                  <a:pt x="2745" y="3382"/>
                </a:lnTo>
                <a:lnTo>
                  <a:pt x="2745" y="3382"/>
                </a:lnTo>
                <a:lnTo>
                  <a:pt x="2825" y="3380"/>
                </a:lnTo>
                <a:lnTo>
                  <a:pt x="2905" y="3372"/>
                </a:lnTo>
                <a:lnTo>
                  <a:pt x="2982" y="3362"/>
                </a:lnTo>
                <a:lnTo>
                  <a:pt x="3058" y="3348"/>
                </a:lnTo>
                <a:lnTo>
                  <a:pt x="3134" y="3328"/>
                </a:lnTo>
                <a:lnTo>
                  <a:pt x="3206" y="3306"/>
                </a:lnTo>
                <a:lnTo>
                  <a:pt x="3279" y="3278"/>
                </a:lnTo>
                <a:lnTo>
                  <a:pt x="3349" y="3248"/>
                </a:lnTo>
                <a:lnTo>
                  <a:pt x="3417" y="3215"/>
                </a:lnTo>
                <a:lnTo>
                  <a:pt x="3485" y="3177"/>
                </a:lnTo>
                <a:lnTo>
                  <a:pt x="3548" y="3137"/>
                </a:lnTo>
                <a:lnTo>
                  <a:pt x="3612" y="3093"/>
                </a:lnTo>
                <a:lnTo>
                  <a:pt x="3672" y="3045"/>
                </a:lnTo>
                <a:lnTo>
                  <a:pt x="3732" y="2995"/>
                </a:lnTo>
                <a:lnTo>
                  <a:pt x="3788" y="2942"/>
                </a:lnTo>
                <a:lnTo>
                  <a:pt x="3841" y="2886"/>
                </a:lnTo>
                <a:lnTo>
                  <a:pt x="3893" y="2828"/>
                </a:lnTo>
                <a:lnTo>
                  <a:pt x="3941" y="2766"/>
                </a:lnTo>
                <a:lnTo>
                  <a:pt x="3987" y="2702"/>
                </a:lnTo>
                <a:lnTo>
                  <a:pt x="4031" y="2637"/>
                </a:lnTo>
                <a:lnTo>
                  <a:pt x="4071" y="2567"/>
                </a:lnTo>
                <a:lnTo>
                  <a:pt x="4109" y="2497"/>
                </a:lnTo>
                <a:lnTo>
                  <a:pt x="4143" y="2423"/>
                </a:lnTo>
                <a:lnTo>
                  <a:pt x="4172" y="2350"/>
                </a:lnTo>
                <a:lnTo>
                  <a:pt x="4200" y="2272"/>
                </a:lnTo>
                <a:lnTo>
                  <a:pt x="4224" y="2194"/>
                </a:lnTo>
                <a:lnTo>
                  <a:pt x="4246" y="2113"/>
                </a:lnTo>
                <a:lnTo>
                  <a:pt x="4264" y="2031"/>
                </a:lnTo>
                <a:lnTo>
                  <a:pt x="4276" y="1947"/>
                </a:lnTo>
                <a:lnTo>
                  <a:pt x="4286" y="1863"/>
                </a:lnTo>
                <a:lnTo>
                  <a:pt x="4292" y="1778"/>
                </a:lnTo>
                <a:lnTo>
                  <a:pt x="4294" y="1690"/>
                </a:lnTo>
                <a:lnTo>
                  <a:pt x="4294" y="1690"/>
                </a:lnTo>
                <a:lnTo>
                  <a:pt x="4292" y="1604"/>
                </a:lnTo>
                <a:lnTo>
                  <a:pt x="4286" y="1517"/>
                </a:lnTo>
                <a:lnTo>
                  <a:pt x="4276" y="1433"/>
                </a:lnTo>
                <a:lnTo>
                  <a:pt x="4264" y="1349"/>
                </a:lnTo>
                <a:lnTo>
                  <a:pt x="4246" y="1267"/>
                </a:lnTo>
                <a:lnTo>
                  <a:pt x="4224" y="1188"/>
                </a:lnTo>
                <a:lnTo>
                  <a:pt x="4200" y="1108"/>
                </a:lnTo>
                <a:lnTo>
                  <a:pt x="4172" y="1032"/>
                </a:lnTo>
                <a:lnTo>
                  <a:pt x="4143" y="957"/>
                </a:lnTo>
                <a:lnTo>
                  <a:pt x="4109" y="885"/>
                </a:lnTo>
                <a:lnTo>
                  <a:pt x="4071" y="813"/>
                </a:lnTo>
                <a:lnTo>
                  <a:pt x="4031" y="745"/>
                </a:lnTo>
                <a:lnTo>
                  <a:pt x="3987" y="678"/>
                </a:lnTo>
                <a:lnTo>
                  <a:pt x="3941" y="614"/>
                </a:lnTo>
                <a:lnTo>
                  <a:pt x="3893" y="554"/>
                </a:lnTo>
                <a:lnTo>
                  <a:pt x="3841" y="494"/>
                </a:lnTo>
                <a:lnTo>
                  <a:pt x="3788" y="438"/>
                </a:lnTo>
                <a:lnTo>
                  <a:pt x="3732" y="385"/>
                </a:lnTo>
                <a:lnTo>
                  <a:pt x="3672" y="335"/>
                </a:lnTo>
                <a:lnTo>
                  <a:pt x="3612" y="289"/>
                </a:lnTo>
                <a:lnTo>
                  <a:pt x="3548" y="243"/>
                </a:lnTo>
                <a:lnTo>
                  <a:pt x="3485" y="203"/>
                </a:lnTo>
                <a:lnTo>
                  <a:pt x="3417" y="165"/>
                </a:lnTo>
                <a:lnTo>
                  <a:pt x="3349" y="132"/>
                </a:lnTo>
                <a:lnTo>
                  <a:pt x="3279" y="102"/>
                </a:lnTo>
                <a:lnTo>
                  <a:pt x="3206" y="76"/>
                </a:lnTo>
                <a:lnTo>
                  <a:pt x="3134" y="52"/>
                </a:lnTo>
                <a:lnTo>
                  <a:pt x="3058" y="34"/>
                </a:lnTo>
                <a:lnTo>
                  <a:pt x="2982" y="18"/>
                </a:lnTo>
                <a:lnTo>
                  <a:pt x="2905" y="8"/>
                </a:lnTo>
                <a:lnTo>
                  <a:pt x="2825" y="2"/>
                </a:lnTo>
                <a:lnTo>
                  <a:pt x="2745" y="0"/>
                </a:lnTo>
                <a:lnTo>
                  <a:pt x="0" y="0"/>
                </a:lnTo>
                <a:close/>
              </a:path>
            </a:pathLst>
          </a:custGeom>
          <a:blipFill dpi="0" rotWithShape="0">
            <a:blip r:embed="rId3"/>
            <a:srcRect/>
            <a:stretch>
              <a:fillRect l="-36833" t="-53670" r="-64225" b="-15750"/>
            </a:stretch>
          </a:blipFill>
          <a:ln w="1270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8E49C8F9-6256-4058-8580-D6DDF807C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60" b="22028"/>
          <a:stretch/>
        </p:blipFill>
        <p:spPr>
          <a:xfrm>
            <a:off x="477239" y="362309"/>
            <a:ext cx="2257335" cy="836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258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 F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AEF7B4E-4B34-4521-8AA8-12AF5B1B07BD}"/>
              </a:ext>
            </a:extLst>
          </p:cNvPr>
          <p:cNvSpPr/>
          <p:nvPr userDrawn="1"/>
        </p:nvSpPr>
        <p:spPr>
          <a:xfrm>
            <a:off x="0" y="0"/>
            <a:ext cx="12192000" cy="1116000"/>
          </a:xfrm>
          <a:prstGeom prst="rect">
            <a:avLst/>
          </a:prstGeom>
          <a:gradFill>
            <a:gsLst>
              <a:gs pos="53000">
                <a:schemeClr val="tx2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F3BD81A-4AE7-4DB1-80FD-E8CB5244A0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8385" y="2560817"/>
            <a:ext cx="10169714" cy="3227208"/>
          </a:xfrm>
        </p:spPr>
        <p:txBody>
          <a:bodyPr/>
          <a:lstStyle>
            <a:lvl1pPr marL="228600" indent="-228600">
              <a:lnSpc>
                <a:spcPct val="12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1200" b="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FBBA816-AB86-40E3-9803-2A0959C184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FD1B17D-24F5-4187-85A4-7AEEFA7E86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8E74A0BB-D705-483C-853A-A3CAAC3D01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744446" y="1330325"/>
            <a:ext cx="307855" cy="4920004"/>
          </a:xfrm>
        </p:spPr>
        <p:txBody>
          <a:bodyPr vert="vert270"/>
          <a:lstStyle>
            <a:lvl1pPr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Texte confidentiel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D2C34C3A-1C69-433E-BD9C-0D396D672E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59" y="1450340"/>
            <a:ext cx="3477524" cy="776137"/>
          </a:xfrm>
          <a:prstGeom prst="rect">
            <a:avLst/>
          </a:prstGeom>
        </p:spPr>
      </p:pic>
      <p:pic>
        <p:nvPicPr>
          <p:cNvPr id="16" name="Image 15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6EFD5400-9720-49CD-9D12-32B37B4AA9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446" y="369396"/>
            <a:ext cx="1602000" cy="360776"/>
          </a:xfrm>
          <a:prstGeom prst="rect">
            <a:avLst/>
          </a:prstGeom>
        </p:spPr>
      </p:pic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35290AD9-391B-4BDF-89A1-3E003B49CF33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 dirty="0"/>
              <a:t>─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4284569-3F89-4FC5-8BA7-AAD7D2D83E6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fr-FR" dirty="0"/>
              <a:t>Nom du document</a:t>
            </a:r>
          </a:p>
        </p:txBody>
      </p:sp>
    </p:spTree>
    <p:extLst>
      <p:ext uri="{BB962C8B-B14F-4D97-AF65-F5344CB8AC3E}">
        <p14:creationId xmlns:p14="http://schemas.microsoft.com/office/powerpoint/2010/main" val="41103466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ommaire F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B123807F-5BA9-46C1-89E4-BD7689F421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624" y="1450361"/>
            <a:ext cx="3456000" cy="7713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AEF7B4E-4B34-4521-8AA8-12AF5B1B07BD}"/>
              </a:ext>
            </a:extLst>
          </p:cNvPr>
          <p:cNvSpPr/>
          <p:nvPr userDrawn="1"/>
        </p:nvSpPr>
        <p:spPr>
          <a:xfrm>
            <a:off x="0" y="0"/>
            <a:ext cx="12192000" cy="1116000"/>
          </a:xfrm>
          <a:prstGeom prst="rect">
            <a:avLst/>
          </a:prstGeom>
          <a:gradFill>
            <a:gsLst>
              <a:gs pos="53000">
                <a:schemeClr val="tx2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F3BD81A-4AE7-4DB1-80FD-E8CB5244A0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98385" y="2560817"/>
            <a:ext cx="10169714" cy="3227208"/>
          </a:xfrm>
        </p:spPr>
        <p:txBody>
          <a:bodyPr/>
          <a:lstStyle>
            <a:lvl1pPr marL="228600" indent="-228600">
              <a:lnSpc>
                <a:spcPct val="12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1200" b="0"/>
            </a:lvl1pPr>
          </a:lstStyle>
          <a:p>
            <a:pPr lvl="0"/>
            <a:r>
              <a:rPr lang="en-US" noProof="0"/>
              <a:t>Chapter titl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FBBA816-AB86-40E3-9803-2A0959C184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noProof="0"/>
              <a:t>00/00/2021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FD1B17D-24F5-4187-85A4-7AEEFA7E86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 noProof="0"/>
              <a:t>P. </a:t>
            </a:r>
            <a:fld id="{48F1853F-86FA-42BD-A046-4DB51B3E894D}" type="slidenum">
              <a:rPr lang="en-US" noProof="0" smtClean="0"/>
              <a:pPr/>
              <a:t>‹N°›</a:t>
            </a:fld>
            <a:endParaRPr lang="en-US" noProof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ED8A3975-C2BE-49DE-BFBA-0643D468B0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744446" y="1330325"/>
            <a:ext cx="307855" cy="4920004"/>
          </a:xfrm>
        </p:spPr>
        <p:txBody>
          <a:bodyPr vert="vert270"/>
          <a:lstStyle>
            <a:lvl1pPr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Texte confidentiel</a:t>
            </a:r>
          </a:p>
        </p:txBody>
      </p:sp>
      <p:pic>
        <p:nvPicPr>
          <p:cNvPr id="14" name="Image 13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E0F79CA2-0BAE-4E93-8B8E-5C47CB6580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446" y="369396"/>
            <a:ext cx="1602000" cy="360776"/>
          </a:xfrm>
          <a:prstGeom prst="rect">
            <a:avLst/>
          </a:prstGeom>
        </p:spPr>
      </p:pic>
      <p:sp>
        <p:nvSpPr>
          <p:cNvPr id="16" name="Espace réservé de la date 3">
            <a:extLst>
              <a:ext uri="{FF2B5EF4-FFF2-40B4-BE49-F238E27FC236}">
                <a16:creationId xmlns:a16="http://schemas.microsoft.com/office/drawing/2014/main" id="{7C9792B3-3E38-4817-BADE-2028A8B99CE1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 dirty="0"/>
              <a:t>─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8DD80FDE-67FA-44F7-8EE1-51AA4C170B0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fr-FR"/>
              <a:t>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25451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re de la diapositiv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95B40DF-846E-4B9E-A5EE-6AAA34284C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8576" y="1621763"/>
            <a:ext cx="10501038" cy="445986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ACA78C8E-3AB2-401E-B987-8495B77BACE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AC7798DE-88EB-4A39-948E-5DA4CB5879F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Document </a:t>
            </a:r>
            <a:r>
              <a:rPr lang="fr-FR" dirty="0" err="1"/>
              <a:t>name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5A6C51D-3910-43E7-9D2E-2BDA728CC5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97027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 + 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Slide titre texte + imag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95B40DF-846E-4B9E-A5EE-6AAA34284C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2603" y="1621763"/>
            <a:ext cx="6087011" cy="4500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5B0E751-1299-42A8-A45A-CDECAC3BCED0}"/>
              </a:ext>
            </a:extLst>
          </p:cNvPr>
          <p:cNvCxnSpPr>
            <a:cxnSpLocks/>
          </p:cNvCxnSpPr>
          <p:nvPr userDrawn="1"/>
        </p:nvCxnSpPr>
        <p:spPr>
          <a:xfrm>
            <a:off x="5562603" y="1104181"/>
            <a:ext cx="6629397" cy="0"/>
          </a:xfrm>
          <a:prstGeom prst="line">
            <a:avLst/>
          </a:prstGeom>
          <a:ln w="15875">
            <a:gradFill flip="none" rotWithShape="1">
              <a:gsLst>
                <a:gs pos="73000">
                  <a:schemeClr val="tx2"/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pour une image  4">
            <a:extLst>
              <a:ext uri="{FF2B5EF4-FFF2-40B4-BE49-F238E27FC236}">
                <a16:creationId xmlns:a16="http://schemas.microsoft.com/office/drawing/2014/main" id="{922CBE38-D676-4941-81B3-D325AC09DEC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104899"/>
            <a:ext cx="5151967" cy="5016864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4" name="Espace réservé de la date 13">
            <a:extLst>
              <a:ext uri="{FF2B5EF4-FFF2-40B4-BE49-F238E27FC236}">
                <a16:creationId xmlns:a16="http://schemas.microsoft.com/office/drawing/2014/main" id="{8609EAD0-BC58-4A03-B15B-07DB9802AAD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A68A2DF0-1406-443D-958F-23BE1C39686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207759AD-DB30-45BC-8526-98323B2279F3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 dirty="0"/>
              <a:t>─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EF764C6-4F09-4D93-9BB1-2189254F284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fr-FR" dirty="0"/>
              <a:t>Document </a:t>
            </a:r>
            <a:r>
              <a:rPr lang="fr-FR" dirty="0" err="1"/>
              <a:t>name</a:t>
            </a:r>
            <a:endParaRPr lang="fr-FR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C34AAB2-9F53-464E-AAD5-F7F50A1671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25" b="45849"/>
          <a:stretch/>
        </p:blipFill>
        <p:spPr>
          <a:xfrm>
            <a:off x="10072777" y="401562"/>
            <a:ext cx="1746000" cy="272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8735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 + 2 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Slide titre texte + image</a:t>
            </a:r>
          </a:p>
        </p:txBody>
      </p:sp>
      <p:sp>
        <p:nvSpPr>
          <p:cNvPr id="14" name="Espace réservé du texte 7">
            <a:extLst>
              <a:ext uri="{FF2B5EF4-FFF2-40B4-BE49-F238E27FC236}">
                <a16:creationId xmlns:a16="http://schemas.microsoft.com/office/drawing/2014/main" id="{B35B8478-0C26-4179-AA54-C9FF3362A4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2604" y="1621763"/>
            <a:ext cx="6087010" cy="45000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C0D7359C-B5F1-45CC-8B47-426FC4318740}"/>
              </a:ext>
            </a:extLst>
          </p:cNvPr>
          <p:cNvCxnSpPr>
            <a:cxnSpLocks/>
          </p:cNvCxnSpPr>
          <p:nvPr userDrawn="1"/>
        </p:nvCxnSpPr>
        <p:spPr>
          <a:xfrm>
            <a:off x="5562603" y="1104181"/>
            <a:ext cx="6629397" cy="0"/>
          </a:xfrm>
          <a:prstGeom prst="line">
            <a:avLst/>
          </a:prstGeom>
          <a:ln w="15875">
            <a:gradFill flip="none" rotWithShape="1">
              <a:gsLst>
                <a:gs pos="73000">
                  <a:schemeClr val="tx2"/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3F0CA010-2431-4441-B225-6C292615530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104900"/>
            <a:ext cx="5151967" cy="2412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6" name="Espace réservé pour une image  4">
            <a:extLst>
              <a:ext uri="{FF2B5EF4-FFF2-40B4-BE49-F238E27FC236}">
                <a16:creationId xmlns:a16="http://schemas.microsoft.com/office/drawing/2014/main" id="{0BB5BEB0-1C13-4497-ACDA-887402E245B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3709763"/>
            <a:ext cx="5151967" cy="2412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757FFB2C-20D7-4992-B6EB-77E8490B897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18" name="Espace réservé du numéro de diapositive 17">
            <a:extLst>
              <a:ext uri="{FF2B5EF4-FFF2-40B4-BE49-F238E27FC236}">
                <a16:creationId xmlns:a16="http://schemas.microsoft.com/office/drawing/2014/main" id="{1584ED04-C8B8-4C0B-9639-7FE05EBC6E5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D492DE38-F58D-48B9-B0D2-5D80DDF7BC20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 dirty="0"/>
              <a:t>─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CC0B16A-A39F-4747-B31F-16958539A16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 dirty="0"/>
              <a:t>Document </a:t>
            </a:r>
            <a:r>
              <a:rPr lang="fr-FR" dirty="0" err="1"/>
              <a:t>name</a:t>
            </a:r>
            <a:endParaRPr lang="fr-FR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6495D81-922D-9F40-AC16-8A12C51DCE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25" b="45849"/>
          <a:stretch/>
        </p:blipFill>
        <p:spPr>
          <a:xfrm>
            <a:off x="10072777" y="401562"/>
            <a:ext cx="1746000" cy="272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5182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petit contenu haut gauch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Slide titre texte + imag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95B40DF-846E-4B9E-A5EE-6AAA34284C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2385" y="1351723"/>
            <a:ext cx="11107229" cy="207727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8" name="Espace réservé de la date 17">
            <a:extLst>
              <a:ext uri="{FF2B5EF4-FFF2-40B4-BE49-F238E27FC236}">
                <a16:creationId xmlns:a16="http://schemas.microsoft.com/office/drawing/2014/main" id="{DCFED60A-BB46-419D-9532-3024A7D11C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3C4229D8-4CE1-480C-94A2-A803502D94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B0F8174-0E4A-466B-B4D1-BBDBD5348F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>
          <a:xfrm>
            <a:off x="0" y="3829750"/>
            <a:ext cx="918000" cy="1836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A17D6412-06DF-4A31-BA39-F49D6A9C04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49512" y="3825759"/>
            <a:ext cx="3767655" cy="1835055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75A2862-9ACF-4A21-B9DD-FEEE948C9C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948679" y="3825758"/>
            <a:ext cx="6242845" cy="1835055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1A581BF-3F44-41B1-BB00-FD24E52AD40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 err="1"/>
              <a:t>Doucment</a:t>
            </a:r>
            <a:r>
              <a:rPr lang="fr-FR" dirty="0"/>
              <a:t> </a:t>
            </a:r>
            <a:r>
              <a:rPr lang="fr-FR" dirty="0" err="1"/>
              <a:t>na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731678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petit contenu gauch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Slide titre texte + imag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95B40DF-846E-4B9E-A5EE-6AAA34284C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2385" y="1444487"/>
            <a:ext cx="5128047" cy="442622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4" name="Espace réservé de la date 13">
            <a:extLst>
              <a:ext uri="{FF2B5EF4-FFF2-40B4-BE49-F238E27FC236}">
                <a16:creationId xmlns:a16="http://schemas.microsoft.com/office/drawing/2014/main" id="{565FF7BD-0EBB-4D53-8219-BDA201F14D3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7C3DA315-E349-49D4-8BF3-09A2CD5B75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3AC214D-C271-46B1-BB9B-311B700E38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2548636"/>
            <a:ext cx="6096528" cy="2225233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6387413-E3DD-4990-9D23-16296240C0B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Document </a:t>
            </a:r>
            <a:r>
              <a:rPr lang="fr-FR" dirty="0" err="1"/>
              <a:t>na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863806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bg>
      <p:bgPr>
        <a:gradFill>
          <a:gsLst>
            <a:gs pos="0">
              <a:schemeClr val="tx2"/>
            </a:gs>
            <a:gs pos="58000">
              <a:srgbClr val="300FB0"/>
            </a:gs>
            <a:gs pos="100000">
              <a:schemeClr val="accent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22F3F8DA-B8D0-4B4A-9EBA-F0B545F3C5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99" y="6431655"/>
            <a:ext cx="987554" cy="137160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C4C56F6B-E0A4-482A-85B9-67FE612CA7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9893" y="1465459"/>
            <a:ext cx="1886716" cy="484633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C2FDF16E-EA17-4D98-AEAC-BE209CBA28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89138" y="2022306"/>
            <a:ext cx="8262937" cy="35178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34000"/>
              </a:lnSpc>
              <a:spcBef>
                <a:spcPts val="1800"/>
              </a:spcBef>
              <a:buNone/>
              <a:defRPr sz="1100">
                <a:solidFill>
                  <a:schemeClr val="bg1"/>
                </a:solidFill>
                <a:latin typeface="Averta-LightItalic" panose="00000400000000000000" pitchFamily="50" charset="0"/>
              </a:defRPr>
            </a:lvl1pPr>
            <a:lvl2pPr marL="0" indent="0">
              <a:buNone/>
              <a:defRPr sz="1100">
                <a:solidFill>
                  <a:schemeClr val="bg1"/>
                </a:solidFill>
                <a:latin typeface="Averta-LightItalic" panose="00000400000000000000" pitchFamily="50" charset="0"/>
              </a:defRPr>
            </a:lvl2pPr>
            <a:lvl3pPr marL="0" indent="0">
              <a:buNone/>
              <a:defRPr sz="1100">
                <a:solidFill>
                  <a:schemeClr val="bg1"/>
                </a:solidFill>
                <a:latin typeface="Averta-LightItalic" panose="00000400000000000000" pitchFamily="50" charset="0"/>
              </a:defRPr>
            </a:lvl3pPr>
            <a:lvl4pPr marL="0" indent="0">
              <a:buNone/>
              <a:defRPr sz="1100">
                <a:solidFill>
                  <a:schemeClr val="bg1"/>
                </a:solidFill>
                <a:latin typeface="Averta-LightItalic" panose="00000400000000000000" pitchFamily="50" charset="0"/>
              </a:defRPr>
            </a:lvl4pPr>
            <a:lvl5pPr marL="0" indent="0">
              <a:buNone/>
              <a:defRPr sz="1100">
                <a:solidFill>
                  <a:schemeClr val="bg1"/>
                </a:solidFill>
                <a:latin typeface="Averta-LightItalic" panose="00000400000000000000" pitchFamily="50" charset="0"/>
              </a:defRPr>
            </a:lvl5pPr>
          </a:lstStyle>
          <a:p>
            <a:pPr lvl="0"/>
            <a:r>
              <a:rPr lang="en-GB" noProof="0"/>
              <a:t>Text</a:t>
            </a:r>
          </a:p>
        </p:txBody>
      </p:sp>
      <p:sp>
        <p:nvSpPr>
          <p:cNvPr id="15" name="Espace réservé du numéro de diapositive 14">
            <a:extLst>
              <a:ext uri="{FF2B5EF4-FFF2-40B4-BE49-F238E27FC236}">
                <a16:creationId xmlns:a16="http://schemas.microsoft.com/office/drawing/2014/main" id="{9A5627B2-B1B3-4863-87D9-CC378F3A158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.</a:t>
            </a:r>
            <a:fld id="{D92CA001-C456-417F-B118-E8406B435260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42459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 bas + 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Slide titre texte + imag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95B40DF-846E-4B9E-A5EE-6AAA34284C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2385" y="4761778"/>
            <a:ext cx="11107229" cy="125083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2" name="Espace réservé pour une image  4">
            <a:extLst>
              <a:ext uri="{FF2B5EF4-FFF2-40B4-BE49-F238E27FC236}">
                <a16:creationId xmlns:a16="http://schemas.microsoft.com/office/drawing/2014/main" id="{9AD8184F-26F7-4533-8A2C-FA8435EA4C8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104900"/>
            <a:ext cx="12192000" cy="3348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4" name="Espace réservé de la date 13">
            <a:extLst>
              <a:ext uri="{FF2B5EF4-FFF2-40B4-BE49-F238E27FC236}">
                <a16:creationId xmlns:a16="http://schemas.microsoft.com/office/drawing/2014/main" id="{5059A670-8E07-4607-A9F9-3E1A2BA274E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B621E30D-63A6-478A-BC6E-882A691CC2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6F90B032-FE64-4A58-B003-909524C0A4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25" b="45849"/>
          <a:stretch/>
        </p:blipFill>
        <p:spPr>
          <a:xfrm>
            <a:off x="10072777" y="401562"/>
            <a:ext cx="1746000" cy="272698"/>
          </a:xfrm>
          <a:prstGeom prst="rect">
            <a:avLst/>
          </a:prstGeom>
        </p:spPr>
      </p:pic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0F1F3409-65D2-42E8-A03E-BBD1265FF378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 dirty="0"/>
              <a:t>─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CE3E6B6-F77E-4212-B99F-75D7F0C444B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fr-FR" dirty="0"/>
              <a:t>Document </a:t>
            </a:r>
            <a:r>
              <a:rPr lang="fr-FR" dirty="0" err="1"/>
              <a:t>na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467809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095B42C-D2A6-432A-9F16-E603C8AA630D}"/>
              </a:ext>
            </a:extLst>
          </p:cNvPr>
          <p:cNvSpPr/>
          <p:nvPr userDrawn="1"/>
        </p:nvSpPr>
        <p:spPr>
          <a:xfrm>
            <a:off x="0" y="0"/>
            <a:ext cx="12192000" cy="6119446"/>
          </a:xfrm>
          <a:prstGeom prst="rect">
            <a:avLst/>
          </a:prstGeom>
          <a:gradFill>
            <a:gsLst>
              <a:gs pos="53000">
                <a:schemeClr val="tx2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C30DCF9F-7BB3-4EC8-94D6-B973F3E27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2386" y="1744244"/>
            <a:ext cx="6263528" cy="2916273"/>
          </a:xfrm>
        </p:spPr>
        <p:txBody>
          <a:bodyPr anchor="b"/>
          <a:lstStyle>
            <a:lvl1pPr>
              <a:lnSpc>
                <a:spcPct val="114000"/>
              </a:lnSpc>
              <a:defRPr sz="25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 Chapitre</a:t>
            </a:r>
            <a:br>
              <a:rPr lang="fr-FR" dirty="0"/>
            </a:br>
            <a:r>
              <a:rPr lang="fr-FR" dirty="0"/>
              <a:t>sur plusieurs lign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8EF43F8-262A-41EB-923C-E1D17B0C458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387" y="4908429"/>
            <a:ext cx="6263530" cy="940280"/>
          </a:xfrm>
        </p:spPr>
        <p:txBody>
          <a:bodyPr/>
          <a:lstStyle>
            <a:lvl1pPr marL="0" indent="0">
              <a:buNone/>
              <a:defRPr sz="1300" b="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Sous-chapit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6FB4644-7C29-4457-8F38-31375AB12D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14767" y="1472094"/>
            <a:ext cx="3950677" cy="4647353"/>
          </a:xfrm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43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1F38C8E-7366-4424-909C-34D14DBF6B1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9B76043-8285-45CA-9BE0-752925EB9B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B1304347-D474-4B6F-91B5-1EDFC6EB06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446" y="369396"/>
            <a:ext cx="1602000" cy="360776"/>
          </a:xfrm>
          <a:prstGeom prst="rect">
            <a:avLst/>
          </a:prstGeom>
        </p:spPr>
      </p:pic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FCAC64FC-C961-45D2-81D5-166E0F8303C6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 dirty="0"/>
              <a:t>─</a:t>
            </a: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D43FD4C3-13F1-4333-9AFA-367873DE94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Document </a:t>
            </a:r>
            <a:r>
              <a:rPr lang="fr-FR" dirty="0" err="1"/>
              <a:t>na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257136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4005E00-4DED-4998-964A-18F6BA35C5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2BC31635-FCDE-476F-8CEA-77C2CA9EB5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24185" y="1621763"/>
            <a:ext cx="4925429" cy="445986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133F34AD-3399-4546-866E-FC02626530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3181" y="1621763"/>
            <a:ext cx="4925429" cy="445986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355420D-CDB4-4A9B-8260-9EC4EFA0E64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9AC325F-2D2B-485E-854E-69B224F5016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Document </a:t>
            </a:r>
            <a:r>
              <a:rPr lang="fr-FR" dirty="0" err="1"/>
              <a:t>name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FBB1745-80A4-482D-9CA3-726A257FB53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61967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p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D786C1E7-B74C-4C6D-8A37-0D7E3C629C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84"/>
            <a:ext cx="12192000" cy="685858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E209EA2-BF85-40FE-9A0D-E1C5418BADEB}"/>
              </a:ext>
            </a:extLst>
          </p:cNvPr>
          <p:cNvSpPr/>
          <p:nvPr userDrawn="1"/>
        </p:nvSpPr>
        <p:spPr>
          <a:xfrm>
            <a:off x="0" y="6116128"/>
            <a:ext cx="12192000" cy="7418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355DCE9-6AF6-49A3-8420-F4F3DD38286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98385" y="1415363"/>
            <a:ext cx="4483432" cy="1646237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 page de rupture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7C9C01B-ECDB-47E8-A784-C72E9EB3029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BDA2C9A-AE2F-4AD1-A0EC-BAB8EBBD83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1" name="Image 10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CE54A7B8-B2EC-461D-BEFE-070BE4D494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446" y="369396"/>
            <a:ext cx="1602000" cy="360776"/>
          </a:xfrm>
          <a:prstGeom prst="rect">
            <a:avLst/>
          </a:prstGeom>
        </p:spPr>
      </p:pic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34438C5-05C2-457C-87CC-3698D0C1BC1D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 dirty="0"/>
              <a:t>─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190FE73A-A8C5-403B-8EDD-C2AC7E8AC3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Document </a:t>
            </a:r>
            <a:r>
              <a:rPr lang="fr-FR" dirty="0" err="1"/>
              <a:t>na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80831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0537458-C28D-4256-9F02-75DDA2559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CF549D6C-DED2-418C-BD80-CB0DE0BACB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D7935B98-B5B8-4124-81A1-E52EDA5365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Document </a:t>
            </a:r>
            <a:r>
              <a:rPr lang="fr-FR" dirty="0" err="1"/>
              <a:t>name</a:t>
            </a:r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ADCB9697-65BF-4808-9858-76807725AC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89710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f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C852FC-EA51-44D5-B586-3FD36AAB2D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468" y="5149972"/>
            <a:ext cx="4989889" cy="310551"/>
          </a:xfrm>
        </p:spPr>
        <p:txBody>
          <a:bodyPr anchor="b"/>
          <a:lstStyle>
            <a:lvl1pPr algn="l">
              <a:lnSpc>
                <a:spcPct val="114000"/>
              </a:lnSpc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First </a:t>
            </a:r>
            <a:r>
              <a:rPr lang="fr-FR" dirty="0" err="1"/>
              <a:t>name</a:t>
            </a:r>
            <a:r>
              <a:rPr lang="fr-FR" dirty="0"/>
              <a:t> LAST NAM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82120A6-D302-4262-9CF2-D3F0232095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4468" y="5477775"/>
            <a:ext cx="4989889" cy="1026543"/>
          </a:xfrm>
        </p:spPr>
        <p:txBody>
          <a:bodyPr/>
          <a:lstStyle>
            <a:lvl1pPr marL="0" indent="0" algn="l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dirty="0"/>
              <a:t>Job </a:t>
            </a:r>
            <a:r>
              <a:rPr lang="fr-FR" dirty="0" err="1"/>
              <a:t>title</a:t>
            </a:r>
            <a:endParaRPr lang="fr-FR" dirty="0"/>
          </a:p>
          <a:p>
            <a:endParaRPr lang="fr-FR" dirty="0"/>
          </a:p>
          <a:p>
            <a:r>
              <a:rPr lang="fr-FR" dirty="0"/>
              <a:t>Email</a:t>
            </a:r>
          </a:p>
          <a:p>
            <a:endParaRPr lang="fr-FR" dirty="0"/>
          </a:p>
          <a:p>
            <a:r>
              <a:rPr lang="fr-FR" dirty="0"/>
              <a:t>Tel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091FA406-6F3F-47B4-A2F3-66EE1B49165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70722" y="2510401"/>
            <a:ext cx="1836000" cy="1836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ECB86AF-2902-487A-B88E-5C84E90B1B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22836" y="2505249"/>
            <a:ext cx="3615241" cy="184115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84F322C-45E5-4AA9-A142-9D2EB808C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297"/>
          <a:stretch/>
        </p:blipFill>
        <p:spPr>
          <a:xfrm>
            <a:off x="-1975" y="2505249"/>
            <a:ext cx="4256583" cy="1835055"/>
          </a:xfrm>
          <a:prstGeom prst="rect">
            <a:avLst/>
          </a:prstGeom>
        </p:spPr>
      </p:pic>
      <p:pic>
        <p:nvPicPr>
          <p:cNvPr id="17" name="Image 16" descr="Une image contenant texte, intérieur, jauge&#10;&#10;Description générée automatiquement">
            <a:extLst>
              <a:ext uri="{FF2B5EF4-FFF2-40B4-BE49-F238E27FC236}">
                <a16:creationId xmlns:a16="http://schemas.microsoft.com/office/drawing/2014/main" id="{4B32702E-1D40-41AA-9271-79CF6E4BB5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4541" y="1001209"/>
            <a:ext cx="4582918" cy="915724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9E67C73-C98B-4AE7-90B0-FA80BBE170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60" b="22028"/>
          <a:stretch/>
        </p:blipFill>
        <p:spPr>
          <a:xfrm>
            <a:off x="9414407" y="5684805"/>
            <a:ext cx="2257335" cy="836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6287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fin MULT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>
            <a:extLst>
              <a:ext uri="{FF2B5EF4-FFF2-40B4-BE49-F238E27FC236}">
                <a16:creationId xmlns:a16="http://schemas.microsoft.com/office/drawing/2014/main" id="{A75A2FA7-2176-44E9-BA65-DE1A326BB0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468" y="5149972"/>
            <a:ext cx="4989889" cy="310551"/>
          </a:xfrm>
        </p:spPr>
        <p:txBody>
          <a:bodyPr anchor="b"/>
          <a:lstStyle>
            <a:lvl1pPr algn="l">
              <a:lnSpc>
                <a:spcPct val="114000"/>
              </a:lnSpc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First </a:t>
            </a:r>
            <a:r>
              <a:rPr lang="fr-FR" dirty="0" err="1"/>
              <a:t>name</a:t>
            </a:r>
            <a:r>
              <a:rPr lang="fr-FR" dirty="0"/>
              <a:t> LAST NAME</a:t>
            </a: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3AA1F7A9-F8BA-4704-8796-E4E00ED687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4468" y="5477775"/>
            <a:ext cx="4989889" cy="1026543"/>
          </a:xfrm>
        </p:spPr>
        <p:txBody>
          <a:bodyPr/>
          <a:lstStyle>
            <a:lvl1pPr marL="0" indent="0" algn="l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 dirty="0"/>
              <a:t>Job </a:t>
            </a:r>
            <a:r>
              <a:rPr lang="fr-FR" dirty="0" err="1"/>
              <a:t>title</a:t>
            </a:r>
            <a:endParaRPr lang="fr-FR" dirty="0"/>
          </a:p>
          <a:p>
            <a:endParaRPr lang="fr-FR" dirty="0"/>
          </a:p>
          <a:p>
            <a:r>
              <a:rPr lang="fr-FR" dirty="0"/>
              <a:t>Email</a:t>
            </a:r>
          </a:p>
          <a:p>
            <a:endParaRPr lang="fr-FR" dirty="0"/>
          </a:p>
          <a:p>
            <a:r>
              <a:rPr lang="fr-FR" dirty="0"/>
              <a:t>Tel</a:t>
            </a:r>
          </a:p>
        </p:txBody>
      </p:sp>
      <p:sp>
        <p:nvSpPr>
          <p:cNvPr id="14" name="Espace réservé pour une image  4">
            <a:extLst>
              <a:ext uri="{FF2B5EF4-FFF2-40B4-BE49-F238E27FC236}">
                <a16:creationId xmlns:a16="http://schemas.microsoft.com/office/drawing/2014/main" id="{09F4ED4F-C503-43F8-9693-BAC68CF492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70722" y="2510401"/>
            <a:ext cx="1836000" cy="1836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879DFAD-2DA3-4192-9553-3408C3EA08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22836" y="2505249"/>
            <a:ext cx="3615241" cy="184115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14A0E09-F2CF-49AD-A2F7-BEE4A071BE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297"/>
          <a:stretch/>
        </p:blipFill>
        <p:spPr>
          <a:xfrm>
            <a:off x="-1975" y="2505249"/>
            <a:ext cx="4256583" cy="1835055"/>
          </a:xfrm>
          <a:prstGeom prst="rect">
            <a:avLst/>
          </a:prstGeom>
        </p:spPr>
      </p:pic>
      <p:pic>
        <p:nvPicPr>
          <p:cNvPr id="17" name="Image 16" descr="Une image contenant texte, intérieur, jauge&#10;&#10;Description générée automatiquement">
            <a:extLst>
              <a:ext uri="{FF2B5EF4-FFF2-40B4-BE49-F238E27FC236}">
                <a16:creationId xmlns:a16="http://schemas.microsoft.com/office/drawing/2014/main" id="{2C7527F9-D5DD-46CF-821A-D14510EAA02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4541" y="1001209"/>
            <a:ext cx="4582918" cy="915724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692F47BA-03F2-451C-8CE7-9BA0E76110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60" b="22028"/>
          <a:stretch/>
        </p:blipFill>
        <p:spPr>
          <a:xfrm>
            <a:off x="9414407" y="5684805"/>
            <a:ext cx="2257335" cy="836764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A3C6E9D4-F6DD-43F5-8EB5-E95B53509D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5456" y="1908289"/>
            <a:ext cx="4572003" cy="300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3783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32517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ommaire F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3AEF7B4E-4B34-4521-8AA8-12AF5B1B07BD}"/>
              </a:ext>
            </a:extLst>
          </p:cNvPr>
          <p:cNvSpPr/>
          <p:nvPr userDrawn="1"/>
        </p:nvSpPr>
        <p:spPr>
          <a:xfrm>
            <a:off x="0" y="0"/>
            <a:ext cx="12192000" cy="1116000"/>
          </a:xfrm>
          <a:prstGeom prst="rect">
            <a:avLst/>
          </a:prstGeom>
          <a:gradFill>
            <a:gsLst>
              <a:gs pos="53000">
                <a:schemeClr val="tx2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FF3BD81A-4AE7-4DB1-80FD-E8CB5244A0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98385" y="2560817"/>
            <a:ext cx="10169714" cy="3227208"/>
          </a:xfrm>
        </p:spPr>
        <p:txBody>
          <a:bodyPr/>
          <a:lstStyle>
            <a:lvl1pPr marL="228600" indent="-228600">
              <a:lnSpc>
                <a:spcPct val="124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+mj-lt"/>
              <a:buAutoNum type="arabicPeriod"/>
              <a:defRPr sz="12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FBBA816-AB86-40E3-9803-2A0959C184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FD1B17D-24F5-4187-85A4-7AEEFA7E86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8E74A0BB-D705-483C-853A-A3CAAC3D01D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744446" y="1330325"/>
            <a:ext cx="307855" cy="4920004"/>
          </a:xfrm>
        </p:spPr>
        <p:txBody>
          <a:bodyPr vert="vert270"/>
          <a:lstStyle>
            <a:lvl1pPr>
              <a:spcBef>
                <a:spcPts val="0"/>
              </a:spcBef>
              <a:spcAft>
                <a:spcPts val="0"/>
              </a:spcAft>
              <a:defRPr sz="7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Texte confidentiel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D2C34C3A-1C69-433E-BD9C-0D396D672E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759" y="1450340"/>
            <a:ext cx="3477524" cy="776137"/>
          </a:xfrm>
          <a:prstGeom prst="rect">
            <a:avLst/>
          </a:prstGeom>
        </p:spPr>
      </p:pic>
      <p:pic>
        <p:nvPicPr>
          <p:cNvPr id="16" name="Image 15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6EFD5400-9720-49CD-9D12-32B37B4AA9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446" y="369396"/>
            <a:ext cx="1602000" cy="360776"/>
          </a:xfrm>
          <a:prstGeom prst="rect">
            <a:avLst/>
          </a:prstGeom>
        </p:spPr>
      </p:pic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35290AD9-391B-4BDF-89A1-3E003B49CF33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/>
              <a:t>─</a:t>
            </a: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4284569-3F89-4FC5-8BA7-AAD7D2D83E6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fr-FR"/>
              <a:t>Nom du document</a:t>
            </a:r>
          </a:p>
        </p:txBody>
      </p:sp>
    </p:spTree>
    <p:extLst>
      <p:ext uri="{BB962C8B-B14F-4D97-AF65-F5344CB8AC3E}">
        <p14:creationId xmlns:p14="http://schemas.microsoft.com/office/powerpoint/2010/main" val="898657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diapositiv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95B40DF-846E-4B9E-A5EE-6AAA34284C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48576" y="1621763"/>
            <a:ext cx="10501038" cy="44598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0" name="Espace réservé de la date 9">
            <a:extLst>
              <a:ext uri="{FF2B5EF4-FFF2-40B4-BE49-F238E27FC236}">
                <a16:creationId xmlns:a16="http://schemas.microsoft.com/office/drawing/2014/main" id="{ACA78C8E-3AB2-401E-B987-8495B77BACE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AC7798DE-88EB-4A39-948E-5DA4CB5879F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Document </a:t>
            </a:r>
            <a:r>
              <a:rPr lang="fr-FR" err="1"/>
              <a:t>name</a:t>
            </a:r>
            <a:endParaRPr lang="fr-FR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5A6C51D-3910-43E7-9D2E-2BDA728CC5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03744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2F4FB43-00B9-4CEF-8F81-76DAEAD2586D}"/>
              </a:ext>
            </a:extLst>
          </p:cNvPr>
          <p:cNvSpPr/>
          <p:nvPr userDrawn="1"/>
        </p:nvSpPr>
        <p:spPr>
          <a:xfrm>
            <a:off x="0" y="0"/>
            <a:ext cx="12192000" cy="1667435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61000">
                <a:srgbClr val="300FB0"/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pic>
        <p:nvPicPr>
          <p:cNvPr id="8" name="Image 7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436F651D-94EA-486F-BED0-E999E95544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705" y="517890"/>
            <a:ext cx="2386589" cy="637033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D9F73E8B-F99D-494A-A332-7CC18E1636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 noProof="0" dirty="0"/>
              <a:t>p.</a:t>
            </a:r>
            <a:fld id="{D92CA001-C456-417F-B118-E8406B435260}" type="slidenum">
              <a:rPr lang="en-GB" noProof="0" smtClean="0"/>
              <a:pPr/>
              <a:t>‹N°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188789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et contenu + 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Slide titre texte + imag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95B40DF-846E-4B9E-A5EE-6AAA34284C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2603" y="1621763"/>
            <a:ext cx="6087011" cy="45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A5B0E751-1299-42A8-A45A-CDECAC3BCED0}"/>
              </a:ext>
            </a:extLst>
          </p:cNvPr>
          <p:cNvCxnSpPr>
            <a:cxnSpLocks/>
          </p:cNvCxnSpPr>
          <p:nvPr userDrawn="1"/>
        </p:nvCxnSpPr>
        <p:spPr>
          <a:xfrm>
            <a:off x="5562603" y="1104181"/>
            <a:ext cx="6629397" cy="0"/>
          </a:xfrm>
          <a:prstGeom prst="line">
            <a:avLst/>
          </a:prstGeom>
          <a:ln w="15875">
            <a:gradFill flip="none" rotWithShape="1">
              <a:gsLst>
                <a:gs pos="73000">
                  <a:schemeClr val="tx2"/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pour une image  4">
            <a:extLst>
              <a:ext uri="{FF2B5EF4-FFF2-40B4-BE49-F238E27FC236}">
                <a16:creationId xmlns:a16="http://schemas.microsoft.com/office/drawing/2014/main" id="{922CBE38-D676-4941-81B3-D325AC09DEC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104899"/>
            <a:ext cx="5151967" cy="5016864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4" name="Espace réservé de la date 13">
            <a:extLst>
              <a:ext uri="{FF2B5EF4-FFF2-40B4-BE49-F238E27FC236}">
                <a16:creationId xmlns:a16="http://schemas.microsoft.com/office/drawing/2014/main" id="{8609EAD0-BC58-4A03-B15B-07DB9802AAD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r-FR"/>
              <a:t>00/00/2021</a:t>
            </a:r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A68A2DF0-1406-443D-958F-23BE1C39686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207759AD-DB30-45BC-8526-98323B2279F3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/>
              <a:t>─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EF764C6-4F09-4D93-9BB1-2189254F284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fr-FR"/>
              <a:t>Document </a:t>
            </a:r>
            <a:r>
              <a:rPr lang="fr-FR" err="1"/>
              <a:t>name</a:t>
            </a:r>
            <a:endParaRPr lang="fr-FR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C34AAB2-9F53-464E-AAD5-F7F50A1671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25" b="45849"/>
          <a:stretch/>
        </p:blipFill>
        <p:spPr>
          <a:xfrm>
            <a:off x="10072777" y="401562"/>
            <a:ext cx="1746000" cy="272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3299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et contenu + 2 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Slide titre texte + image</a:t>
            </a:r>
          </a:p>
        </p:txBody>
      </p:sp>
      <p:sp>
        <p:nvSpPr>
          <p:cNvPr id="14" name="Espace réservé du texte 7">
            <a:extLst>
              <a:ext uri="{FF2B5EF4-FFF2-40B4-BE49-F238E27FC236}">
                <a16:creationId xmlns:a16="http://schemas.microsoft.com/office/drawing/2014/main" id="{B35B8478-0C26-4179-AA54-C9FF3362A4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62604" y="1621763"/>
            <a:ext cx="6087010" cy="450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C0D7359C-B5F1-45CC-8B47-426FC4318740}"/>
              </a:ext>
            </a:extLst>
          </p:cNvPr>
          <p:cNvCxnSpPr>
            <a:cxnSpLocks/>
          </p:cNvCxnSpPr>
          <p:nvPr userDrawn="1"/>
        </p:nvCxnSpPr>
        <p:spPr>
          <a:xfrm>
            <a:off x="5562603" y="1104181"/>
            <a:ext cx="6629397" cy="0"/>
          </a:xfrm>
          <a:prstGeom prst="line">
            <a:avLst/>
          </a:prstGeom>
          <a:ln w="15875">
            <a:gradFill flip="none" rotWithShape="1">
              <a:gsLst>
                <a:gs pos="73000">
                  <a:schemeClr val="tx2"/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3F0CA010-2431-4441-B225-6C292615530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1104900"/>
            <a:ext cx="5151967" cy="2412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6" name="Espace réservé pour une image  4">
            <a:extLst>
              <a:ext uri="{FF2B5EF4-FFF2-40B4-BE49-F238E27FC236}">
                <a16:creationId xmlns:a16="http://schemas.microsoft.com/office/drawing/2014/main" id="{0BB5BEB0-1C13-4497-ACDA-887402E245B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1" y="3709763"/>
            <a:ext cx="5151967" cy="2412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757FFB2C-20D7-4992-B6EB-77E8490B897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fr-FR"/>
              <a:t>00/00/2021</a:t>
            </a:r>
          </a:p>
        </p:txBody>
      </p:sp>
      <p:sp>
        <p:nvSpPr>
          <p:cNvPr id="18" name="Espace réservé du numéro de diapositive 17">
            <a:extLst>
              <a:ext uri="{FF2B5EF4-FFF2-40B4-BE49-F238E27FC236}">
                <a16:creationId xmlns:a16="http://schemas.microsoft.com/office/drawing/2014/main" id="{1584ED04-C8B8-4C0B-9639-7FE05EBC6E5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2" name="Espace réservé de la date 3">
            <a:extLst>
              <a:ext uri="{FF2B5EF4-FFF2-40B4-BE49-F238E27FC236}">
                <a16:creationId xmlns:a16="http://schemas.microsoft.com/office/drawing/2014/main" id="{D492DE38-F58D-48B9-B0D2-5D80DDF7BC20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/>
              <a:t>─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DCC0B16A-A39F-4747-B31F-16958539A16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Document </a:t>
            </a:r>
            <a:r>
              <a:rPr lang="fr-FR" err="1"/>
              <a:t>name</a:t>
            </a:r>
            <a:endParaRPr lang="fr-FR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56495D81-922D-9F40-AC16-8A12C51DCE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25" b="45849"/>
          <a:stretch/>
        </p:blipFill>
        <p:spPr>
          <a:xfrm>
            <a:off x="10072777" y="401562"/>
            <a:ext cx="1746000" cy="272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0429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petit contenu haut gauch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Slide titre texte + imag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95B40DF-846E-4B9E-A5EE-6AAA34284C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2385" y="1351723"/>
            <a:ext cx="11107229" cy="20772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8" name="Espace réservé de la date 17">
            <a:extLst>
              <a:ext uri="{FF2B5EF4-FFF2-40B4-BE49-F238E27FC236}">
                <a16:creationId xmlns:a16="http://schemas.microsoft.com/office/drawing/2014/main" id="{DCFED60A-BB46-419D-9532-3024A7D11C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3C4229D8-4CE1-480C-94A2-A803502D942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0B0F8174-0E4A-466B-B4D1-BBDBD5348F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>
          <a:xfrm>
            <a:off x="0" y="3829750"/>
            <a:ext cx="918000" cy="1836000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A17D6412-06DF-4A31-BA39-F49D6A9C04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549512" y="3825759"/>
            <a:ext cx="3767655" cy="1835055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F75A2862-9ACF-4A21-B9DD-FEEE948C9C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948679" y="3825758"/>
            <a:ext cx="6242845" cy="1835055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91A581BF-3F44-41B1-BB00-FD24E52AD40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err="1"/>
              <a:t>Doucment</a:t>
            </a:r>
            <a:r>
              <a:rPr lang="fr-FR"/>
              <a:t> </a:t>
            </a:r>
            <a:r>
              <a:rPr lang="fr-FR" err="1"/>
              <a:t>nam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4007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petit contenu gauch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Slide titre texte + imag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95B40DF-846E-4B9E-A5EE-6AAA34284C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2385" y="1444487"/>
            <a:ext cx="5128047" cy="44262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4" name="Espace réservé de la date 13">
            <a:extLst>
              <a:ext uri="{FF2B5EF4-FFF2-40B4-BE49-F238E27FC236}">
                <a16:creationId xmlns:a16="http://schemas.microsoft.com/office/drawing/2014/main" id="{565FF7BD-0EBB-4D53-8219-BDA201F14D3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7C3DA315-E349-49D4-8BF3-09A2CD5B75D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03AC214D-C271-46B1-BB9B-311B700E38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96000" y="2548636"/>
            <a:ext cx="6096528" cy="2225233"/>
          </a:xfrm>
          <a:prstGeom prst="rect">
            <a:avLst/>
          </a:prstGeom>
        </p:spPr>
      </p:pic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6387413-E3DD-4990-9D23-16296240C0B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Document </a:t>
            </a:r>
            <a:r>
              <a:rPr lang="fr-FR" err="1"/>
              <a:t>nam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060528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et contenu bas + 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A85DCA-F4A4-4078-BDD0-35C0151FE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Slide titre texte + imag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495B40DF-846E-4B9E-A5EE-6AAA34284C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2385" y="4761778"/>
            <a:ext cx="11107229" cy="125083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2" name="Espace réservé pour une image  4">
            <a:extLst>
              <a:ext uri="{FF2B5EF4-FFF2-40B4-BE49-F238E27FC236}">
                <a16:creationId xmlns:a16="http://schemas.microsoft.com/office/drawing/2014/main" id="{9AD8184F-26F7-4533-8A2C-FA8435EA4C8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104900"/>
            <a:ext cx="12192000" cy="3348000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b="0"/>
            </a:lvl1pPr>
          </a:lstStyle>
          <a:p>
            <a:r>
              <a:rPr lang="en-US"/>
              <a:t>Click icon to add picture</a:t>
            </a:r>
            <a:endParaRPr lang="fr-FR"/>
          </a:p>
        </p:txBody>
      </p:sp>
      <p:sp>
        <p:nvSpPr>
          <p:cNvPr id="14" name="Espace réservé de la date 13">
            <a:extLst>
              <a:ext uri="{FF2B5EF4-FFF2-40B4-BE49-F238E27FC236}">
                <a16:creationId xmlns:a16="http://schemas.microsoft.com/office/drawing/2014/main" id="{5059A670-8E07-4607-A9F9-3E1A2BA274EF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fr-FR"/>
              <a:t>00/00/2021</a:t>
            </a:r>
          </a:p>
        </p:txBody>
      </p:sp>
      <p:sp>
        <p:nvSpPr>
          <p:cNvPr id="16" name="Espace réservé du numéro de diapositive 15">
            <a:extLst>
              <a:ext uri="{FF2B5EF4-FFF2-40B4-BE49-F238E27FC236}">
                <a16:creationId xmlns:a16="http://schemas.microsoft.com/office/drawing/2014/main" id="{B621E30D-63A6-478A-BC6E-882A691CC21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6F90B032-FE64-4A58-B003-909524C0A4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25" b="45849"/>
          <a:stretch/>
        </p:blipFill>
        <p:spPr>
          <a:xfrm>
            <a:off x="10072777" y="401562"/>
            <a:ext cx="1746000" cy="272698"/>
          </a:xfrm>
          <a:prstGeom prst="rect">
            <a:avLst/>
          </a:prstGeom>
        </p:spPr>
      </p:pic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0F1F3409-65D2-42E8-A03E-BBD1265FF378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/>
              <a:t>─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CE3E6B6-F77E-4212-B99F-75D7F0C444B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fr-FR"/>
              <a:t>Document </a:t>
            </a:r>
            <a:r>
              <a:rPr lang="fr-FR" err="1"/>
              <a:t>nam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7440275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4005E00-4DED-4998-964A-18F6BA35C5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2BC31635-FCDE-476F-8CEA-77C2CA9EB5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24185" y="1621763"/>
            <a:ext cx="4925429" cy="44598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133F34AD-3399-4546-866E-FC02626530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3181" y="1621763"/>
            <a:ext cx="4925429" cy="44598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355420D-CDB4-4A9B-8260-9EC4EFA0E64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fr-FR"/>
              <a:t>00/00/2021</a:t>
            </a: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9AC325F-2D2B-485E-854E-69B224F5016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Document </a:t>
            </a:r>
            <a:r>
              <a:rPr lang="fr-FR" err="1"/>
              <a:t>name</a:t>
            </a:r>
            <a:endParaRPr lang="fr-FR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FBB1745-80A4-482D-9CA3-726A257FB53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18123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f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C852FC-EA51-44D5-B586-3FD36AAB2D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468" y="5149972"/>
            <a:ext cx="4989889" cy="310551"/>
          </a:xfrm>
        </p:spPr>
        <p:txBody>
          <a:bodyPr anchor="b"/>
          <a:lstStyle>
            <a:lvl1pPr algn="l">
              <a:lnSpc>
                <a:spcPct val="114000"/>
              </a:lnSpc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r-FR"/>
              <a:t>First </a:t>
            </a:r>
            <a:r>
              <a:rPr lang="fr-FR" err="1"/>
              <a:t>name</a:t>
            </a:r>
            <a:r>
              <a:rPr lang="fr-FR"/>
              <a:t> LAST NAM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782120A6-D302-4262-9CF2-D3F02320950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4468" y="5477775"/>
            <a:ext cx="4989889" cy="1026543"/>
          </a:xfrm>
        </p:spPr>
        <p:txBody>
          <a:bodyPr/>
          <a:lstStyle>
            <a:lvl1pPr marL="0" indent="0" algn="l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Job </a:t>
            </a:r>
            <a:r>
              <a:rPr lang="fr-FR" err="1"/>
              <a:t>title</a:t>
            </a:r>
            <a:endParaRPr lang="fr-FR"/>
          </a:p>
          <a:p>
            <a:endParaRPr lang="fr-FR"/>
          </a:p>
          <a:p>
            <a:r>
              <a:rPr lang="fr-FR"/>
              <a:t>Email</a:t>
            </a:r>
          </a:p>
          <a:p>
            <a:endParaRPr lang="fr-FR"/>
          </a:p>
          <a:p>
            <a:r>
              <a:rPr lang="fr-FR"/>
              <a:t>Tel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:a16="http://schemas.microsoft.com/office/drawing/2014/main" id="{091FA406-6F3F-47B4-A2F3-66EE1B49165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70722" y="2510401"/>
            <a:ext cx="1836000" cy="1836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8ECB86AF-2902-487A-B88E-5C84E90B1B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22836" y="2505249"/>
            <a:ext cx="3615241" cy="184115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484F322C-45E5-4AA9-A142-9D2EB808C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297"/>
          <a:stretch/>
        </p:blipFill>
        <p:spPr>
          <a:xfrm>
            <a:off x="-1975" y="2505249"/>
            <a:ext cx="4256583" cy="1835055"/>
          </a:xfrm>
          <a:prstGeom prst="rect">
            <a:avLst/>
          </a:prstGeom>
        </p:spPr>
      </p:pic>
      <p:pic>
        <p:nvPicPr>
          <p:cNvPr id="17" name="Image 16" descr="Une image contenant texte, intérieur, jauge&#10;&#10;Description générée automatiquement">
            <a:extLst>
              <a:ext uri="{FF2B5EF4-FFF2-40B4-BE49-F238E27FC236}">
                <a16:creationId xmlns:a16="http://schemas.microsoft.com/office/drawing/2014/main" id="{4B32702E-1D40-41AA-9271-79CF6E4BB5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4541" y="1001209"/>
            <a:ext cx="4582918" cy="915724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9E67C73-C98B-4AE7-90B0-FA80BBE170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60" b="22028"/>
          <a:stretch/>
        </p:blipFill>
        <p:spPr>
          <a:xfrm>
            <a:off x="9414407" y="5684805"/>
            <a:ext cx="2257335" cy="836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3696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apositive de fin MULTI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>
            <a:extLst>
              <a:ext uri="{FF2B5EF4-FFF2-40B4-BE49-F238E27FC236}">
                <a16:creationId xmlns:a16="http://schemas.microsoft.com/office/drawing/2014/main" id="{A75A2FA7-2176-44E9-BA65-DE1A326BB0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4468" y="5149972"/>
            <a:ext cx="4989889" cy="310551"/>
          </a:xfrm>
        </p:spPr>
        <p:txBody>
          <a:bodyPr anchor="b"/>
          <a:lstStyle>
            <a:lvl1pPr algn="l">
              <a:lnSpc>
                <a:spcPct val="114000"/>
              </a:lnSpc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fr-FR"/>
              <a:t>First </a:t>
            </a:r>
            <a:r>
              <a:rPr lang="fr-FR" err="1"/>
              <a:t>name</a:t>
            </a:r>
            <a:r>
              <a:rPr lang="fr-FR"/>
              <a:t> LAST NAME</a:t>
            </a:r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3AA1F7A9-F8BA-4704-8796-E4E00ED687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4468" y="5477775"/>
            <a:ext cx="4989889" cy="1026543"/>
          </a:xfrm>
        </p:spPr>
        <p:txBody>
          <a:bodyPr/>
          <a:lstStyle>
            <a:lvl1pPr marL="0" indent="0" algn="l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900" b="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Job </a:t>
            </a:r>
            <a:r>
              <a:rPr lang="fr-FR" err="1"/>
              <a:t>title</a:t>
            </a:r>
            <a:endParaRPr lang="fr-FR"/>
          </a:p>
          <a:p>
            <a:endParaRPr lang="fr-FR"/>
          </a:p>
          <a:p>
            <a:r>
              <a:rPr lang="fr-FR"/>
              <a:t>Email</a:t>
            </a:r>
          </a:p>
          <a:p>
            <a:endParaRPr lang="fr-FR"/>
          </a:p>
          <a:p>
            <a:r>
              <a:rPr lang="fr-FR"/>
              <a:t>Tel</a:t>
            </a:r>
          </a:p>
        </p:txBody>
      </p:sp>
      <p:sp>
        <p:nvSpPr>
          <p:cNvPr id="14" name="Espace réservé pour une image  4">
            <a:extLst>
              <a:ext uri="{FF2B5EF4-FFF2-40B4-BE49-F238E27FC236}">
                <a16:creationId xmlns:a16="http://schemas.microsoft.com/office/drawing/2014/main" id="{09F4ED4F-C503-43F8-9693-BAC68CF492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70722" y="2510401"/>
            <a:ext cx="1836000" cy="1836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879DFAD-2DA3-4192-9553-3408C3EA08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22836" y="2505249"/>
            <a:ext cx="3615241" cy="1841152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014A0E09-F2CF-49AD-A2F7-BEE4A071BE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297"/>
          <a:stretch/>
        </p:blipFill>
        <p:spPr>
          <a:xfrm>
            <a:off x="-1975" y="2505249"/>
            <a:ext cx="4256583" cy="1835055"/>
          </a:xfrm>
          <a:prstGeom prst="rect">
            <a:avLst/>
          </a:prstGeom>
        </p:spPr>
      </p:pic>
      <p:pic>
        <p:nvPicPr>
          <p:cNvPr id="17" name="Image 16" descr="Une image contenant texte, intérieur, jauge&#10;&#10;Description générée automatiquement">
            <a:extLst>
              <a:ext uri="{FF2B5EF4-FFF2-40B4-BE49-F238E27FC236}">
                <a16:creationId xmlns:a16="http://schemas.microsoft.com/office/drawing/2014/main" id="{2C7527F9-D5DD-46CF-821A-D14510EAA02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4541" y="1001209"/>
            <a:ext cx="4582918" cy="915724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692F47BA-03F2-451C-8CE7-9BA0E76110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60" b="22028"/>
          <a:stretch/>
        </p:blipFill>
        <p:spPr>
          <a:xfrm>
            <a:off x="9414407" y="5684805"/>
            <a:ext cx="2257335" cy="836764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A3C6E9D4-F6DD-43F5-8EB5-E95B53509D4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5456" y="1908289"/>
            <a:ext cx="4572003" cy="300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2830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400" b="0" i="0" baseline="0" err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00307 - SAIS+ - On-boarding document Country - vPost.pptx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9" name="Connecteur droit 7"/>
          <p:cNvCxnSpPr/>
          <p:nvPr userDrawn="1"/>
        </p:nvCxnSpPr>
        <p:spPr>
          <a:xfrm>
            <a:off x="630000" y="1125597"/>
            <a:ext cx="109332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1030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50969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0200307 - SAIS+ - On-boarding document Country - vPost.pptx</a:t>
            </a:r>
          </a:p>
        </p:txBody>
      </p:sp>
      <p:pic>
        <p:nvPicPr>
          <p:cNvPr id="8" name="Image 11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85" t="24001" r="10290" b="23954"/>
          <a:stretch/>
        </p:blipFill>
        <p:spPr>
          <a:xfrm>
            <a:off x="9595656" y="6368124"/>
            <a:ext cx="1404939" cy="361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11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1629E85-EEBD-4F2A-95CE-53C2471E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46E948A-917D-435F-B6C6-80928B323B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 noProof="0" dirty="0"/>
              <a:t>p.</a:t>
            </a:r>
            <a:fld id="{D92CA001-C456-417F-B118-E8406B435260}" type="slidenum">
              <a:rPr lang="en-GB" noProof="0" smtClean="0"/>
              <a:pPr/>
              <a:t>‹N°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094449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 demi-fond dro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AAA7F7D-52EA-4747-B186-646D7ED68BF2}"/>
              </a:ext>
            </a:extLst>
          </p:cNvPr>
          <p:cNvSpPr/>
          <p:nvPr userDrawn="1"/>
        </p:nvSpPr>
        <p:spPr>
          <a:xfrm>
            <a:off x="6906409" y="0"/>
            <a:ext cx="5285591" cy="6858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8000">
                <a:srgbClr val="9C3995"/>
              </a:gs>
              <a:gs pos="70000">
                <a:srgbClr val="300FB0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629E85-EEBD-4F2A-95CE-53C2471E2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3341" y="516366"/>
            <a:ext cx="5572461" cy="71125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EAB44B63-EC9C-4880-9016-44DA0B6D23C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35667" y="1200150"/>
            <a:ext cx="4760664" cy="4457700"/>
          </a:xfrm>
          <a:custGeom>
            <a:avLst/>
            <a:gdLst>
              <a:gd name="connsiteX0" fmla="*/ 0 w 6809589"/>
              <a:gd name="connsiteY0" fmla="*/ 2206027 h 4457700"/>
              <a:gd name="connsiteX1" fmla="*/ 2206027 w 6809589"/>
              <a:gd name="connsiteY1" fmla="*/ 0 h 4457700"/>
              <a:gd name="connsiteX2" fmla="*/ 4603562 w 6809589"/>
              <a:gd name="connsiteY2" fmla="*/ 0 h 4457700"/>
              <a:gd name="connsiteX3" fmla="*/ 6809589 w 6809589"/>
              <a:gd name="connsiteY3" fmla="*/ 2206027 h 4457700"/>
              <a:gd name="connsiteX4" fmla="*/ 6809589 w 6809589"/>
              <a:gd name="connsiteY4" fmla="*/ 2251673 h 4457700"/>
              <a:gd name="connsiteX5" fmla="*/ 4603562 w 6809589"/>
              <a:gd name="connsiteY5" fmla="*/ 4457700 h 4457700"/>
              <a:gd name="connsiteX6" fmla="*/ 2206027 w 6809589"/>
              <a:gd name="connsiteY6" fmla="*/ 4457700 h 4457700"/>
              <a:gd name="connsiteX7" fmla="*/ 0 w 6809589"/>
              <a:gd name="connsiteY7" fmla="*/ 2251673 h 4457700"/>
              <a:gd name="connsiteX8" fmla="*/ 0 w 6809589"/>
              <a:gd name="connsiteY8" fmla="*/ 2206027 h 4457700"/>
              <a:gd name="connsiteX0" fmla="*/ 0 w 6809589"/>
              <a:gd name="connsiteY0" fmla="*/ 2206027 h 4457700"/>
              <a:gd name="connsiteX1" fmla="*/ 2206027 w 6809589"/>
              <a:gd name="connsiteY1" fmla="*/ 0 h 4457700"/>
              <a:gd name="connsiteX2" fmla="*/ 4743411 w 6809589"/>
              <a:gd name="connsiteY2" fmla="*/ 0 h 4457700"/>
              <a:gd name="connsiteX3" fmla="*/ 6809589 w 6809589"/>
              <a:gd name="connsiteY3" fmla="*/ 2206027 h 4457700"/>
              <a:gd name="connsiteX4" fmla="*/ 6809589 w 6809589"/>
              <a:gd name="connsiteY4" fmla="*/ 2251673 h 4457700"/>
              <a:gd name="connsiteX5" fmla="*/ 4603562 w 6809589"/>
              <a:gd name="connsiteY5" fmla="*/ 4457700 h 4457700"/>
              <a:gd name="connsiteX6" fmla="*/ 2206027 w 6809589"/>
              <a:gd name="connsiteY6" fmla="*/ 4457700 h 4457700"/>
              <a:gd name="connsiteX7" fmla="*/ 0 w 6809589"/>
              <a:gd name="connsiteY7" fmla="*/ 2251673 h 4457700"/>
              <a:gd name="connsiteX8" fmla="*/ 0 w 6809589"/>
              <a:gd name="connsiteY8" fmla="*/ 2206027 h 4457700"/>
              <a:gd name="connsiteX0" fmla="*/ 0 w 6809589"/>
              <a:gd name="connsiteY0" fmla="*/ 2206027 h 4457700"/>
              <a:gd name="connsiteX1" fmla="*/ 2206027 w 6809589"/>
              <a:gd name="connsiteY1" fmla="*/ 0 h 4457700"/>
              <a:gd name="connsiteX2" fmla="*/ 4743411 w 6809589"/>
              <a:gd name="connsiteY2" fmla="*/ 0 h 4457700"/>
              <a:gd name="connsiteX3" fmla="*/ 6809589 w 6809589"/>
              <a:gd name="connsiteY3" fmla="*/ 2206027 h 4457700"/>
              <a:gd name="connsiteX4" fmla="*/ 6809589 w 6809589"/>
              <a:gd name="connsiteY4" fmla="*/ 2251673 h 4457700"/>
              <a:gd name="connsiteX5" fmla="*/ 4754169 w 6809589"/>
              <a:gd name="connsiteY5" fmla="*/ 4457700 h 4457700"/>
              <a:gd name="connsiteX6" fmla="*/ 2206027 w 6809589"/>
              <a:gd name="connsiteY6" fmla="*/ 4457700 h 4457700"/>
              <a:gd name="connsiteX7" fmla="*/ 0 w 6809589"/>
              <a:gd name="connsiteY7" fmla="*/ 2251673 h 4457700"/>
              <a:gd name="connsiteX8" fmla="*/ 0 w 6809589"/>
              <a:gd name="connsiteY8" fmla="*/ 2206027 h 4457700"/>
              <a:gd name="connsiteX0" fmla="*/ 0 w 6809589"/>
              <a:gd name="connsiteY0" fmla="*/ 2206027 h 4457700"/>
              <a:gd name="connsiteX1" fmla="*/ 2206027 w 6809589"/>
              <a:gd name="connsiteY1" fmla="*/ 0 h 4457700"/>
              <a:gd name="connsiteX2" fmla="*/ 4743411 w 6809589"/>
              <a:gd name="connsiteY2" fmla="*/ 0 h 4457700"/>
              <a:gd name="connsiteX3" fmla="*/ 6809589 w 6809589"/>
              <a:gd name="connsiteY3" fmla="*/ 2206027 h 4457700"/>
              <a:gd name="connsiteX4" fmla="*/ 6809589 w 6809589"/>
              <a:gd name="connsiteY4" fmla="*/ 2251673 h 4457700"/>
              <a:gd name="connsiteX5" fmla="*/ 4754169 w 6809589"/>
              <a:gd name="connsiteY5" fmla="*/ 4457700 h 4457700"/>
              <a:gd name="connsiteX6" fmla="*/ 2206027 w 6809589"/>
              <a:gd name="connsiteY6" fmla="*/ 4457700 h 4457700"/>
              <a:gd name="connsiteX7" fmla="*/ 0 w 6809589"/>
              <a:gd name="connsiteY7" fmla="*/ 2251673 h 4457700"/>
              <a:gd name="connsiteX8" fmla="*/ 0 w 6809589"/>
              <a:gd name="connsiteY8" fmla="*/ 2206027 h 4457700"/>
              <a:gd name="connsiteX0" fmla="*/ 0 w 6809589"/>
              <a:gd name="connsiteY0" fmla="*/ 2206027 h 4457700"/>
              <a:gd name="connsiteX1" fmla="*/ 2206027 w 6809589"/>
              <a:gd name="connsiteY1" fmla="*/ 0 h 4457700"/>
              <a:gd name="connsiteX2" fmla="*/ 4743411 w 6809589"/>
              <a:gd name="connsiteY2" fmla="*/ 0 h 4457700"/>
              <a:gd name="connsiteX3" fmla="*/ 6809589 w 6809589"/>
              <a:gd name="connsiteY3" fmla="*/ 2206027 h 4457700"/>
              <a:gd name="connsiteX4" fmla="*/ 6809589 w 6809589"/>
              <a:gd name="connsiteY4" fmla="*/ 2251673 h 4457700"/>
              <a:gd name="connsiteX5" fmla="*/ 4754169 w 6809589"/>
              <a:gd name="connsiteY5" fmla="*/ 4457700 h 4457700"/>
              <a:gd name="connsiteX6" fmla="*/ 2206027 w 6809589"/>
              <a:gd name="connsiteY6" fmla="*/ 4457700 h 4457700"/>
              <a:gd name="connsiteX7" fmla="*/ 0 w 6809589"/>
              <a:gd name="connsiteY7" fmla="*/ 2251673 h 4457700"/>
              <a:gd name="connsiteX8" fmla="*/ 0 w 6809589"/>
              <a:gd name="connsiteY8" fmla="*/ 2206027 h 4457700"/>
              <a:gd name="connsiteX0" fmla="*/ 0 w 6809589"/>
              <a:gd name="connsiteY0" fmla="*/ 2206027 h 4457700"/>
              <a:gd name="connsiteX1" fmla="*/ 2206027 w 6809589"/>
              <a:gd name="connsiteY1" fmla="*/ 0 h 4457700"/>
              <a:gd name="connsiteX2" fmla="*/ 4743411 w 6809589"/>
              <a:gd name="connsiteY2" fmla="*/ 0 h 4457700"/>
              <a:gd name="connsiteX3" fmla="*/ 6809589 w 6809589"/>
              <a:gd name="connsiteY3" fmla="*/ 2206027 h 4457700"/>
              <a:gd name="connsiteX4" fmla="*/ 6809589 w 6809589"/>
              <a:gd name="connsiteY4" fmla="*/ 2251673 h 4457700"/>
              <a:gd name="connsiteX5" fmla="*/ 4754169 w 6809589"/>
              <a:gd name="connsiteY5" fmla="*/ 4457700 h 4457700"/>
              <a:gd name="connsiteX6" fmla="*/ 2206027 w 6809589"/>
              <a:gd name="connsiteY6" fmla="*/ 4457700 h 4457700"/>
              <a:gd name="connsiteX7" fmla="*/ 0 w 6809589"/>
              <a:gd name="connsiteY7" fmla="*/ 2251673 h 4457700"/>
              <a:gd name="connsiteX8" fmla="*/ 0 w 6809589"/>
              <a:gd name="connsiteY8" fmla="*/ 2206027 h 4457700"/>
              <a:gd name="connsiteX0" fmla="*/ 0 w 6809589"/>
              <a:gd name="connsiteY0" fmla="*/ 2206027 h 4457700"/>
              <a:gd name="connsiteX1" fmla="*/ 2206027 w 6809589"/>
              <a:gd name="connsiteY1" fmla="*/ 0 h 4457700"/>
              <a:gd name="connsiteX2" fmla="*/ 4743411 w 6809589"/>
              <a:gd name="connsiteY2" fmla="*/ 0 h 4457700"/>
              <a:gd name="connsiteX3" fmla="*/ 6809589 w 6809589"/>
              <a:gd name="connsiteY3" fmla="*/ 2206027 h 4457700"/>
              <a:gd name="connsiteX4" fmla="*/ 4754169 w 6809589"/>
              <a:gd name="connsiteY4" fmla="*/ 4457700 h 4457700"/>
              <a:gd name="connsiteX5" fmla="*/ 2206027 w 6809589"/>
              <a:gd name="connsiteY5" fmla="*/ 4457700 h 4457700"/>
              <a:gd name="connsiteX6" fmla="*/ 0 w 6809589"/>
              <a:gd name="connsiteY6" fmla="*/ 2251673 h 4457700"/>
              <a:gd name="connsiteX7" fmla="*/ 0 w 6809589"/>
              <a:gd name="connsiteY7" fmla="*/ 2206027 h 4457700"/>
              <a:gd name="connsiteX0" fmla="*/ 0 w 5066678"/>
              <a:gd name="connsiteY0" fmla="*/ 2206027 h 4457700"/>
              <a:gd name="connsiteX1" fmla="*/ 2206027 w 5066678"/>
              <a:gd name="connsiteY1" fmla="*/ 0 h 4457700"/>
              <a:gd name="connsiteX2" fmla="*/ 4743411 w 5066678"/>
              <a:gd name="connsiteY2" fmla="*/ 0 h 4457700"/>
              <a:gd name="connsiteX3" fmla="*/ 4754169 w 5066678"/>
              <a:gd name="connsiteY3" fmla="*/ 4457700 h 4457700"/>
              <a:gd name="connsiteX4" fmla="*/ 2206027 w 5066678"/>
              <a:gd name="connsiteY4" fmla="*/ 4457700 h 4457700"/>
              <a:gd name="connsiteX5" fmla="*/ 0 w 5066678"/>
              <a:gd name="connsiteY5" fmla="*/ 2251673 h 4457700"/>
              <a:gd name="connsiteX6" fmla="*/ 0 w 5066678"/>
              <a:gd name="connsiteY6" fmla="*/ 2206027 h 4457700"/>
              <a:gd name="connsiteX0" fmla="*/ 0 w 4933314"/>
              <a:gd name="connsiteY0" fmla="*/ 2206027 h 4457700"/>
              <a:gd name="connsiteX1" fmla="*/ 2206027 w 4933314"/>
              <a:gd name="connsiteY1" fmla="*/ 0 h 4457700"/>
              <a:gd name="connsiteX2" fmla="*/ 4743411 w 4933314"/>
              <a:gd name="connsiteY2" fmla="*/ 0 h 4457700"/>
              <a:gd name="connsiteX3" fmla="*/ 4754169 w 4933314"/>
              <a:gd name="connsiteY3" fmla="*/ 4457700 h 4457700"/>
              <a:gd name="connsiteX4" fmla="*/ 2206027 w 4933314"/>
              <a:gd name="connsiteY4" fmla="*/ 4457700 h 4457700"/>
              <a:gd name="connsiteX5" fmla="*/ 0 w 4933314"/>
              <a:gd name="connsiteY5" fmla="*/ 2251673 h 4457700"/>
              <a:gd name="connsiteX6" fmla="*/ 0 w 4933314"/>
              <a:gd name="connsiteY6" fmla="*/ 2206027 h 4457700"/>
              <a:gd name="connsiteX0" fmla="*/ 0 w 4754169"/>
              <a:gd name="connsiteY0" fmla="*/ 2206027 h 4457700"/>
              <a:gd name="connsiteX1" fmla="*/ 2206027 w 4754169"/>
              <a:gd name="connsiteY1" fmla="*/ 0 h 4457700"/>
              <a:gd name="connsiteX2" fmla="*/ 4743411 w 4754169"/>
              <a:gd name="connsiteY2" fmla="*/ 0 h 4457700"/>
              <a:gd name="connsiteX3" fmla="*/ 4754169 w 4754169"/>
              <a:gd name="connsiteY3" fmla="*/ 4457700 h 4457700"/>
              <a:gd name="connsiteX4" fmla="*/ 2206027 w 4754169"/>
              <a:gd name="connsiteY4" fmla="*/ 4457700 h 4457700"/>
              <a:gd name="connsiteX5" fmla="*/ 0 w 4754169"/>
              <a:gd name="connsiteY5" fmla="*/ 2251673 h 4457700"/>
              <a:gd name="connsiteX6" fmla="*/ 0 w 4754169"/>
              <a:gd name="connsiteY6" fmla="*/ 2206027 h 4457700"/>
              <a:gd name="connsiteX0" fmla="*/ 0 w 4754169"/>
              <a:gd name="connsiteY0" fmla="*/ 2206027 h 4457700"/>
              <a:gd name="connsiteX1" fmla="*/ 2206027 w 4754169"/>
              <a:gd name="connsiteY1" fmla="*/ 0 h 4457700"/>
              <a:gd name="connsiteX2" fmla="*/ 4752037 w 4754169"/>
              <a:gd name="connsiteY2" fmla="*/ 17253 h 4457700"/>
              <a:gd name="connsiteX3" fmla="*/ 4754169 w 4754169"/>
              <a:gd name="connsiteY3" fmla="*/ 4457700 h 4457700"/>
              <a:gd name="connsiteX4" fmla="*/ 2206027 w 4754169"/>
              <a:gd name="connsiteY4" fmla="*/ 4457700 h 4457700"/>
              <a:gd name="connsiteX5" fmla="*/ 0 w 4754169"/>
              <a:gd name="connsiteY5" fmla="*/ 2251673 h 4457700"/>
              <a:gd name="connsiteX6" fmla="*/ 0 w 4754169"/>
              <a:gd name="connsiteY6" fmla="*/ 2206027 h 4457700"/>
              <a:gd name="connsiteX0" fmla="*/ 0 w 4754169"/>
              <a:gd name="connsiteY0" fmla="*/ 2206027 h 4457700"/>
              <a:gd name="connsiteX1" fmla="*/ 2206027 w 4754169"/>
              <a:gd name="connsiteY1" fmla="*/ 0 h 4457700"/>
              <a:gd name="connsiteX2" fmla="*/ 4752037 w 4754169"/>
              <a:gd name="connsiteY2" fmla="*/ 17253 h 4457700"/>
              <a:gd name="connsiteX3" fmla="*/ 4754169 w 4754169"/>
              <a:gd name="connsiteY3" fmla="*/ 4457700 h 4457700"/>
              <a:gd name="connsiteX4" fmla="*/ 2206027 w 4754169"/>
              <a:gd name="connsiteY4" fmla="*/ 4457700 h 4457700"/>
              <a:gd name="connsiteX5" fmla="*/ 0 w 4754169"/>
              <a:gd name="connsiteY5" fmla="*/ 2251673 h 4457700"/>
              <a:gd name="connsiteX6" fmla="*/ 0 w 4754169"/>
              <a:gd name="connsiteY6" fmla="*/ 2206027 h 4457700"/>
              <a:gd name="connsiteX0" fmla="*/ 0 w 4769290"/>
              <a:gd name="connsiteY0" fmla="*/ 2206027 h 4457700"/>
              <a:gd name="connsiteX1" fmla="*/ 2206027 w 4769290"/>
              <a:gd name="connsiteY1" fmla="*/ 0 h 4457700"/>
              <a:gd name="connsiteX2" fmla="*/ 4769290 w 4769290"/>
              <a:gd name="connsiteY2" fmla="*/ 0 h 4457700"/>
              <a:gd name="connsiteX3" fmla="*/ 4754169 w 4769290"/>
              <a:gd name="connsiteY3" fmla="*/ 4457700 h 4457700"/>
              <a:gd name="connsiteX4" fmla="*/ 2206027 w 4769290"/>
              <a:gd name="connsiteY4" fmla="*/ 4457700 h 4457700"/>
              <a:gd name="connsiteX5" fmla="*/ 0 w 4769290"/>
              <a:gd name="connsiteY5" fmla="*/ 2251673 h 4457700"/>
              <a:gd name="connsiteX6" fmla="*/ 0 w 4769290"/>
              <a:gd name="connsiteY6" fmla="*/ 2206027 h 4457700"/>
              <a:gd name="connsiteX0" fmla="*/ 0 w 4760664"/>
              <a:gd name="connsiteY0" fmla="*/ 2206027 h 4457700"/>
              <a:gd name="connsiteX1" fmla="*/ 2206027 w 4760664"/>
              <a:gd name="connsiteY1" fmla="*/ 0 h 4457700"/>
              <a:gd name="connsiteX2" fmla="*/ 4760664 w 4760664"/>
              <a:gd name="connsiteY2" fmla="*/ 8626 h 4457700"/>
              <a:gd name="connsiteX3" fmla="*/ 4754169 w 4760664"/>
              <a:gd name="connsiteY3" fmla="*/ 4457700 h 4457700"/>
              <a:gd name="connsiteX4" fmla="*/ 2206027 w 4760664"/>
              <a:gd name="connsiteY4" fmla="*/ 4457700 h 4457700"/>
              <a:gd name="connsiteX5" fmla="*/ 0 w 4760664"/>
              <a:gd name="connsiteY5" fmla="*/ 2251673 h 4457700"/>
              <a:gd name="connsiteX6" fmla="*/ 0 w 4760664"/>
              <a:gd name="connsiteY6" fmla="*/ 2206027 h 4457700"/>
              <a:gd name="connsiteX0" fmla="*/ 0 w 4760664"/>
              <a:gd name="connsiteY0" fmla="*/ 2206027 h 4457700"/>
              <a:gd name="connsiteX1" fmla="*/ 2206027 w 4760664"/>
              <a:gd name="connsiteY1" fmla="*/ 0 h 4457700"/>
              <a:gd name="connsiteX2" fmla="*/ 4760664 w 4760664"/>
              <a:gd name="connsiteY2" fmla="*/ 8626 h 4457700"/>
              <a:gd name="connsiteX3" fmla="*/ 4736916 w 4760664"/>
              <a:gd name="connsiteY3" fmla="*/ 4457700 h 4457700"/>
              <a:gd name="connsiteX4" fmla="*/ 2206027 w 4760664"/>
              <a:gd name="connsiteY4" fmla="*/ 4457700 h 4457700"/>
              <a:gd name="connsiteX5" fmla="*/ 0 w 4760664"/>
              <a:gd name="connsiteY5" fmla="*/ 2251673 h 4457700"/>
              <a:gd name="connsiteX6" fmla="*/ 0 w 4760664"/>
              <a:gd name="connsiteY6" fmla="*/ 2206027 h 4457700"/>
              <a:gd name="connsiteX0" fmla="*/ 0 w 4760664"/>
              <a:gd name="connsiteY0" fmla="*/ 2206027 h 4457700"/>
              <a:gd name="connsiteX1" fmla="*/ 2206027 w 4760664"/>
              <a:gd name="connsiteY1" fmla="*/ 0 h 4457700"/>
              <a:gd name="connsiteX2" fmla="*/ 4760664 w 4760664"/>
              <a:gd name="connsiteY2" fmla="*/ 8626 h 4457700"/>
              <a:gd name="connsiteX3" fmla="*/ 4736916 w 4760664"/>
              <a:gd name="connsiteY3" fmla="*/ 4457700 h 4457700"/>
              <a:gd name="connsiteX4" fmla="*/ 2206027 w 4760664"/>
              <a:gd name="connsiteY4" fmla="*/ 4457700 h 4457700"/>
              <a:gd name="connsiteX5" fmla="*/ 0 w 4760664"/>
              <a:gd name="connsiteY5" fmla="*/ 2251673 h 4457700"/>
              <a:gd name="connsiteX6" fmla="*/ 0 w 4760664"/>
              <a:gd name="connsiteY6" fmla="*/ 2206027 h 4457700"/>
              <a:gd name="connsiteX0" fmla="*/ 0 w 4760664"/>
              <a:gd name="connsiteY0" fmla="*/ 2206027 h 4457700"/>
              <a:gd name="connsiteX1" fmla="*/ 2206027 w 4760664"/>
              <a:gd name="connsiteY1" fmla="*/ 0 h 4457700"/>
              <a:gd name="connsiteX2" fmla="*/ 4760664 w 4760664"/>
              <a:gd name="connsiteY2" fmla="*/ 8626 h 4457700"/>
              <a:gd name="connsiteX3" fmla="*/ 4736916 w 4760664"/>
              <a:gd name="connsiteY3" fmla="*/ 4457700 h 4457700"/>
              <a:gd name="connsiteX4" fmla="*/ 2206027 w 4760664"/>
              <a:gd name="connsiteY4" fmla="*/ 4457700 h 4457700"/>
              <a:gd name="connsiteX5" fmla="*/ 0 w 4760664"/>
              <a:gd name="connsiteY5" fmla="*/ 2251673 h 4457700"/>
              <a:gd name="connsiteX6" fmla="*/ 0 w 4760664"/>
              <a:gd name="connsiteY6" fmla="*/ 2206027 h 4457700"/>
              <a:gd name="connsiteX0" fmla="*/ 0 w 4760664"/>
              <a:gd name="connsiteY0" fmla="*/ 2206027 h 4457700"/>
              <a:gd name="connsiteX1" fmla="*/ 2206027 w 4760664"/>
              <a:gd name="connsiteY1" fmla="*/ 0 h 4457700"/>
              <a:gd name="connsiteX2" fmla="*/ 4760664 w 4760664"/>
              <a:gd name="connsiteY2" fmla="*/ 8626 h 4457700"/>
              <a:gd name="connsiteX3" fmla="*/ 4745543 w 4760664"/>
              <a:gd name="connsiteY3" fmla="*/ 4449073 h 4457700"/>
              <a:gd name="connsiteX4" fmla="*/ 2206027 w 4760664"/>
              <a:gd name="connsiteY4" fmla="*/ 4457700 h 4457700"/>
              <a:gd name="connsiteX5" fmla="*/ 0 w 4760664"/>
              <a:gd name="connsiteY5" fmla="*/ 2251673 h 4457700"/>
              <a:gd name="connsiteX6" fmla="*/ 0 w 4760664"/>
              <a:gd name="connsiteY6" fmla="*/ 2206027 h 4457700"/>
              <a:gd name="connsiteX0" fmla="*/ 0 w 4760664"/>
              <a:gd name="connsiteY0" fmla="*/ 2206027 h 4457700"/>
              <a:gd name="connsiteX1" fmla="*/ 2206027 w 4760664"/>
              <a:gd name="connsiteY1" fmla="*/ 0 h 4457700"/>
              <a:gd name="connsiteX2" fmla="*/ 4760664 w 4760664"/>
              <a:gd name="connsiteY2" fmla="*/ 8626 h 4457700"/>
              <a:gd name="connsiteX3" fmla="*/ 4745543 w 4760664"/>
              <a:gd name="connsiteY3" fmla="*/ 4449073 h 4457700"/>
              <a:gd name="connsiteX4" fmla="*/ 2206027 w 4760664"/>
              <a:gd name="connsiteY4" fmla="*/ 4457700 h 4457700"/>
              <a:gd name="connsiteX5" fmla="*/ 0 w 4760664"/>
              <a:gd name="connsiteY5" fmla="*/ 2251673 h 4457700"/>
              <a:gd name="connsiteX6" fmla="*/ 0 w 4760664"/>
              <a:gd name="connsiteY6" fmla="*/ 2206027 h 4457700"/>
              <a:gd name="connsiteX0" fmla="*/ 0 w 4763433"/>
              <a:gd name="connsiteY0" fmla="*/ 2206027 h 4457700"/>
              <a:gd name="connsiteX1" fmla="*/ 2206027 w 4763433"/>
              <a:gd name="connsiteY1" fmla="*/ 0 h 4457700"/>
              <a:gd name="connsiteX2" fmla="*/ 4760664 w 4763433"/>
              <a:gd name="connsiteY2" fmla="*/ 8626 h 4457700"/>
              <a:gd name="connsiteX3" fmla="*/ 4754170 w 4763433"/>
              <a:gd name="connsiteY3" fmla="*/ 4457700 h 4457700"/>
              <a:gd name="connsiteX4" fmla="*/ 2206027 w 4763433"/>
              <a:gd name="connsiteY4" fmla="*/ 4457700 h 4457700"/>
              <a:gd name="connsiteX5" fmla="*/ 0 w 4763433"/>
              <a:gd name="connsiteY5" fmla="*/ 2251673 h 4457700"/>
              <a:gd name="connsiteX6" fmla="*/ 0 w 4763433"/>
              <a:gd name="connsiteY6" fmla="*/ 2206027 h 4457700"/>
              <a:gd name="connsiteX0" fmla="*/ 0 w 4760664"/>
              <a:gd name="connsiteY0" fmla="*/ 2206027 h 4457700"/>
              <a:gd name="connsiteX1" fmla="*/ 2206027 w 4760664"/>
              <a:gd name="connsiteY1" fmla="*/ 0 h 4457700"/>
              <a:gd name="connsiteX2" fmla="*/ 4760664 w 4760664"/>
              <a:gd name="connsiteY2" fmla="*/ 8626 h 4457700"/>
              <a:gd name="connsiteX3" fmla="*/ 4754170 w 4760664"/>
              <a:gd name="connsiteY3" fmla="*/ 4457700 h 4457700"/>
              <a:gd name="connsiteX4" fmla="*/ 2206027 w 4760664"/>
              <a:gd name="connsiteY4" fmla="*/ 4457700 h 4457700"/>
              <a:gd name="connsiteX5" fmla="*/ 0 w 4760664"/>
              <a:gd name="connsiteY5" fmla="*/ 2251673 h 4457700"/>
              <a:gd name="connsiteX6" fmla="*/ 0 w 4760664"/>
              <a:gd name="connsiteY6" fmla="*/ 2206027 h 4457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760664" h="4457700">
                <a:moveTo>
                  <a:pt x="0" y="2206027"/>
                </a:moveTo>
                <a:cubicBezTo>
                  <a:pt x="0" y="987672"/>
                  <a:pt x="987672" y="0"/>
                  <a:pt x="2206027" y="0"/>
                </a:cubicBezTo>
                <a:lnTo>
                  <a:pt x="4760664" y="8626"/>
                </a:lnTo>
                <a:cubicBezTo>
                  <a:pt x="4757179" y="1100185"/>
                  <a:pt x="4764013" y="3643811"/>
                  <a:pt x="4754170" y="4457700"/>
                </a:cubicBezTo>
                <a:lnTo>
                  <a:pt x="2206027" y="4457700"/>
                </a:lnTo>
                <a:cubicBezTo>
                  <a:pt x="987672" y="4457700"/>
                  <a:pt x="0" y="3470028"/>
                  <a:pt x="0" y="2251673"/>
                </a:cubicBezTo>
                <a:lnTo>
                  <a:pt x="0" y="2206027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en-GB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60F7380-7DBC-4647-A148-059D30AF9D2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.</a:t>
            </a:r>
            <a:fld id="{D92CA001-C456-417F-B118-E8406B435260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57717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 demi-fond gauch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AAA7F7D-52EA-4747-B186-646D7ED68BF2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1629E85-EEBD-4F2A-95CE-53C2471E23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3341" y="516366"/>
            <a:ext cx="4658061" cy="71125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C038EF6-E13C-4CA3-AE19-C57A4C4057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94" b="1041"/>
          <a:stretch/>
        </p:blipFill>
        <p:spPr>
          <a:xfrm>
            <a:off x="0" y="657290"/>
            <a:ext cx="1015742" cy="39513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73D268D2-48FD-4C18-94AF-F9831BA4E5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99" y="6431655"/>
            <a:ext cx="987554" cy="137160"/>
          </a:xfrm>
          <a:prstGeom prst="rect">
            <a:avLst/>
          </a:prstGeom>
        </p:spPr>
      </p:pic>
      <p:sp>
        <p:nvSpPr>
          <p:cNvPr id="9" name="Espace réservé pour une image  8">
            <a:extLst>
              <a:ext uri="{FF2B5EF4-FFF2-40B4-BE49-F238E27FC236}">
                <a16:creationId xmlns:a16="http://schemas.microsoft.com/office/drawing/2014/main" id="{AB8A4A76-B94A-4BB3-9468-2B20167C77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46674" y="1882589"/>
            <a:ext cx="1800000" cy="4068000"/>
          </a:xfrm>
          <a:prstGeom prst="roundRect">
            <a:avLst>
              <a:gd name="adj" fmla="val 50000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en-GB" dirty="0"/>
          </a:p>
        </p:txBody>
      </p:sp>
      <p:sp>
        <p:nvSpPr>
          <p:cNvPr id="10" name="Espace réservé pour une image  8">
            <a:extLst>
              <a:ext uri="{FF2B5EF4-FFF2-40B4-BE49-F238E27FC236}">
                <a16:creationId xmlns:a16="http://schemas.microsoft.com/office/drawing/2014/main" id="{8C5DD7B3-7464-415A-A19D-DEB752C5849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259568" y="4152451"/>
            <a:ext cx="1800000" cy="1798137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en-GB" dirty="0"/>
          </a:p>
        </p:txBody>
      </p:sp>
      <p:sp>
        <p:nvSpPr>
          <p:cNvPr id="11" name="Espace réservé pour une image  8">
            <a:extLst>
              <a:ext uri="{FF2B5EF4-FFF2-40B4-BE49-F238E27FC236}">
                <a16:creationId xmlns:a16="http://schemas.microsoft.com/office/drawing/2014/main" id="{51A1BA82-379C-4D10-92B4-D777967A73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59568" y="1882589"/>
            <a:ext cx="1800000" cy="1798137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sur l'icône pour ajouter une image</a:t>
            </a:r>
            <a:endParaRPr lang="en-GB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959CD8CC-321D-4B1A-9129-1EB03261B1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GB" noProof="0" dirty="0"/>
              <a:t>p.</a:t>
            </a:r>
            <a:fld id="{D92CA001-C456-417F-B118-E8406B435260}" type="slidenum">
              <a:rPr lang="en-GB" noProof="0" smtClean="0"/>
              <a:pPr/>
              <a:t>‹N°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6239317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re seul blanc">
    <p:bg>
      <p:bgPr>
        <a:gradFill>
          <a:gsLst>
            <a:gs pos="0">
              <a:schemeClr val="tx2"/>
            </a:gs>
            <a:gs pos="58000">
              <a:srgbClr val="300FB0"/>
            </a:gs>
            <a:gs pos="100000">
              <a:schemeClr val="accent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1629E85-EEBD-4F2A-95CE-53C2471E23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A67E7772-2B40-44B9-A940-589D025DBE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694" b="1041"/>
          <a:stretch/>
        </p:blipFill>
        <p:spPr>
          <a:xfrm>
            <a:off x="0" y="657290"/>
            <a:ext cx="1015742" cy="395133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9F31D66C-8FB7-47D3-A1C4-9625EC4106B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999" y="6431655"/>
            <a:ext cx="987554" cy="137160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75E7C21B-673D-479E-8457-FD686E4B7DD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.</a:t>
            </a:r>
            <a:fld id="{D92CA001-C456-417F-B118-E8406B435260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7936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f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3C852FC-EA51-44D5-B586-3FD36AAB2D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0678" y="5343617"/>
            <a:ext cx="5525322" cy="250362"/>
          </a:xfrm>
        </p:spPr>
        <p:txBody>
          <a:bodyPr anchor="t">
            <a:normAutofit/>
          </a:bodyPr>
          <a:lstStyle>
            <a:lvl1pPr algn="l">
              <a:lnSpc>
                <a:spcPct val="114000"/>
              </a:lnSpc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First name LAST NAME</a:t>
            </a:r>
          </a:p>
        </p:txBody>
      </p:sp>
      <p:pic>
        <p:nvPicPr>
          <p:cNvPr id="17" name="Image 16" descr="Une image contenant texte, intérieur, jauge&#10;&#10;Description générée automatiquement">
            <a:extLst>
              <a:ext uri="{FF2B5EF4-FFF2-40B4-BE49-F238E27FC236}">
                <a16:creationId xmlns:a16="http://schemas.microsoft.com/office/drawing/2014/main" id="{4B32702E-1D40-41AA-9271-79CF6E4BB54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292" y="722122"/>
            <a:ext cx="3399416" cy="679245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D9E67C73-C98B-4AE7-90B0-FA80BBE170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60" b="22028"/>
          <a:stretch/>
        </p:blipFill>
        <p:spPr>
          <a:xfrm>
            <a:off x="8768946" y="5458039"/>
            <a:ext cx="2700000" cy="1000854"/>
          </a:xfrm>
          <a:prstGeom prst="rect">
            <a:avLst/>
          </a:prstGeom>
        </p:spPr>
      </p:pic>
      <p:sp>
        <p:nvSpPr>
          <p:cNvPr id="9" name="Sous-titre 2">
            <a:extLst>
              <a:ext uri="{FF2B5EF4-FFF2-40B4-BE49-F238E27FC236}">
                <a16:creationId xmlns:a16="http://schemas.microsoft.com/office/drawing/2014/main" id="{5222B351-EA6F-4F56-B44F-B156272EE90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0678" y="5617629"/>
            <a:ext cx="5525322" cy="102654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2"/>
                </a:solidFill>
                <a:latin typeface="Averta-LightItalic" panose="00000400000000000000" pitchFamily="50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2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/>
              <a:t>Job title</a:t>
            </a:r>
          </a:p>
          <a:p>
            <a:pPr lvl="1"/>
            <a:r>
              <a:rPr lang="en-GB" noProof="0"/>
              <a:t>Email</a:t>
            </a:r>
          </a:p>
          <a:p>
            <a:pPr lvl="1"/>
            <a:r>
              <a:rPr lang="en-GB" noProof="0"/>
              <a:t>Tel1</a:t>
            </a:r>
          </a:p>
          <a:p>
            <a:pPr lvl="1"/>
            <a:r>
              <a:rPr lang="en-GB" noProof="0"/>
              <a:t>Tel2</a:t>
            </a:r>
          </a:p>
        </p:txBody>
      </p:sp>
      <p:sp>
        <p:nvSpPr>
          <p:cNvPr id="10" name="Espace réservé pour une image  4">
            <a:extLst>
              <a:ext uri="{FF2B5EF4-FFF2-40B4-BE49-F238E27FC236}">
                <a16:creationId xmlns:a16="http://schemas.microsoft.com/office/drawing/2014/main" id="{1D1C55F0-7CED-4BC2-A331-8DE415A8193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27002" y="2259106"/>
            <a:ext cx="2340000" cy="23400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fr-FR" noProof="0" dirty="0"/>
              <a:t>Cliquez sur l'icône pour ajouter une image</a:t>
            </a:r>
            <a:endParaRPr lang="en-GB" noProof="0" dirty="0"/>
          </a:p>
        </p:txBody>
      </p:sp>
      <p:sp>
        <p:nvSpPr>
          <p:cNvPr id="11" name="object 15">
            <a:extLst>
              <a:ext uri="{FF2B5EF4-FFF2-40B4-BE49-F238E27FC236}">
                <a16:creationId xmlns:a16="http://schemas.microsoft.com/office/drawing/2014/main" id="{0873E35A-8485-4EE7-9060-A7470C3E268A}"/>
              </a:ext>
            </a:extLst>
          </p:cNvPr>
          <p:cNvSpPr/>
          <p:nvPr userDrawn="1"/>
        </p:nvSpPr>
        <p:spPr>
          <a:xfrm>
            <a:off x="0" y="2279426"/>
            <a:ext cx="4598670" cy="2337435"/>
          </a:xfrm>
          <a:custGeom>
            <a:avLst/>
            <a:gdLst/>
            <a:ahLst/>
            <a:cxnLst/>
            <a:rect l="l" t="t" r="r" b="b"/>
            <a:pathLst>
              <a:path w="4598670" h="2337435">
                <a:moveTo>
                  <a:pt x="3429867" y="0"/>
                </a:moveTo>
                <a:lnTo>
                  <a:pt x="0" y="0"/>
                </a:lnTo>
                <a:lnTo>
                  <a:pt x="0" y="2337244"/>
                </a:lnTo>
                <a:lnTo>
                  <a:pt x="3429867" y="2337244"/>
                </a:lnTo>
                <a:lnTo>
                  <a:pt x="3478037" y="2336269"/>
                </a:lnTo>
                <a:lnTo>
                  <a:pt x="3525711" y="2333370"/>
                </a:lnTo>
                <a:lnTo>
                  <a:pt x="3572851" y="2328584"/>
                </a:lnTo>
                <a:lnTo>
                  <a:pt x="3619421" y="2321949"/>
                </a:lnTo>
                <a:lnTo>
                  <a:pt x="3665382" y="2313502"/>
                </a:lnTo>
                <a:lnTo>
                  <a:pt x="3710696" y="2303280"/>
                </a:lnTo>
                <a:lnTo>
                  <a:pt x="3755327" y="2291323"/>
                </a:lnTo>
                <a:lnTo>
                  <a:pt x="3799237" y="2277666"/>
                </a:lnTo>
                <a:lnTo>
                  <a:pt x="3842388" y="2262349"/>
                </a:lnTo>
                <a:lnTo>
                  <a:pt x="3884742" y="2245407"/>
                </a:lnTo>
                <a:lnTo>
                  <a:pt x="3926262" y="2226880"/>
                </a:lnTo>
                <a:lnTo>
                  <a:pt x="3966910" y="2206804"/>
                </a:lnTo>
                <a:lnTo>
                  <a:pt x="4006649" y="2185217"/>
                </a:lnTo>
                <a:lnTo>
                  <a:pt x="4045441" y="2162157"/>
                </a:lnTo>
                <a:lnTo>
                  <a:pt x="4083248" y="2137661"/>
                </a:lnTo>
                <a:lnTo>
                  <a:pt x="4120033" y="2111767"/>
                </a:lnTo>
                <a:lnTo>
                  <a:pt x="4155758" y="2084512"/>
                </a:lnTo>
                <a:lnTo>
                  <a:pt x="4190387" y="2055935"/>
                </a:lnTo>
                <a:lnTo>
                  <a:pt x="4223880" y="2026072"/>
                </a:lnTo>
                <a:lnTo>
                  <a:pt x="4256200" y="1994962"/>
                </a:lnTo>
                <a:lnTo>
                  <a:pt x="4287311" y="1962641"/>
                </a:lnTo>
                <a:lnTo>
                  <a:pt x="4317174" y="1929148"/>
                </a:lnTo>
                <a:lnTo>
                  <a:pt x="4345751" y="1894520"/>
                </a:lnTo>
                <a:lnTo>
                  <a:pt x="4373006" y="1858794"/>
                </a:lnTo>
                <a:lnTo>
                  <a:pt x="4398900" y="1822009"/>
                </a:lnTo>
                <a:lnTo>
                  <a:pt x="4423396" y="1784202"/>
                </a:lnTo>
                <a:lnTo>
                  <a:pt x="4446456" y="1745410"/>
                </a:lnTo>
                <a:lnTo>
                  <a:pt x="4468043" y="1705671"/>
                </a:lnTo>
                <a:lnTo>
                  <a:pt x="4488119" y="1665023"/>
                </a:lnTo>
                <a:lnTo>
                  <a:pt x="4506646" y="1623503"/>
                </a:lnTo>
                <a:lnTo>
                  <a:pt x="4523588" y="1581149"/>
                </a:lnTo>
                <a:lnTo>
                  <a:pt x="4538905" y="1537998"/>
                </a:lnTo>
                <a:lnTo>
                  <a:pt x="4552562" y="1494089"/>
                </a:lnTo>
                <a:lnTo>
                  <a:pt x="4564519" y="1449458"/>
                </a:lnTo>
                <a:lnTo>
                  <a:pt x="4574740" y="1404143"/>
                </a:lnTo>
                <a:lnTo>
                  <a:pt x="4583187" y="1358182"/>
                </a:lnTo>
                <a:lnTo>
                  <a:pt x="4589823" y="1311612"/>
                </a:lnTo>
                <a:lnTo>
                  <a:pt x="4594609" y="1264472"/>
                </a:lnTo>
                <a:lnTo>
                  <a:pt x="4597508" y="1216798"/>
                </a:lnTo>
                <a:lnTo>
                  <a:pt x="4598483" y="1168628"/>
                </a:lnTo>
                <a:lnTo>
                  <a:pt x="4597508" y="1120457"/>
                </a:lnTo>
                <a:lnTo>
                  <a:pt x="4594609" y="1072783"/>
                </a:lnTo>
                <a:lnTo>
                  <a:pt x="4589823" y="1025641"/>
                </a:lnTo>
                <a:lnTo>
                  <a:pt x="4583187" y="979071"/>
                </a:lnTo>
                <a:lnTo>
                  <a:pt x="4574740" y="933109"/>
                </a:lnTo>
                <a:lnTo>
                  <a:pt x="4564519" y="887794"/>
                </a:lnTo>
                <a:lnTo>
                  <a:pt x="4552562" y="843162"/>
                </a:lnTo>
                <a:lnTo>
                  <a:pt x="4538905" y="799252"/>
                </a:lnTo>
                <a:lnTo>
                  <a:pt x="4523588" y="756100"/>
                </a:lnTo>
                <a:lnTo>
                  <a:pt x="4506646" y="713746"/>
                </a:lnTo>
                <a:lnTo>
                  <a:pt x="4488119" y="672225"/>
                </a:lnTo>
                <a:lnTo>
                  <a:pt x="4468043" y="631577"/>
                </a:lnTo>
                <a:lnTo>
                  <a:pt x="4446456" y="591837"/>
                </a:lnTo>
                <a:lnTo>
                  <a:pt x="4423396" y="553045"/>
                </a:lnTo>
                <a:lnTo>
                  <a:pt x="4398900" y="515238"/>
                </a:lnTo>
                <a:lnTo>
                  <a:pt x="4373006" y="478452"/>
                </a:lnTo>
                <a:lnTo>
                  <a:pt x="4345751" y="442726"/>
                </a:lnTo>
                <a:lnTo>
                  <a:pt x="4317174" y="408098"/>
                </a:lnTo>
                <a:lnTo>
                  <a:pt x="4287311" y="374604"/>
                </a:lnTo>
                <a:lnTo>
                  <a:pt x="4256200" y="342284"/>
                </a:lnTo>
                <a:lnTo>
                  <a:pt x="4223880" y="311173"/>
                </a:lnTo>
                <a:lnTo>
                  <a:pt x="4190387" y="281310"/>
                </a:lnTo>
                <a:lnTo>
                  <a:pt x="4155758" y="252732"/>
                </a:lnTo>
                <a:lnTo>
                  <a:pt x="4120033" y="225478"/>
                </a:lnTo>
                <a:lnTo>
                  <a:pt x="4083248" y="199583"/>
                </a:lnTo>
                <a:lnTo>
                  <a:pt x="4045441" y="175087"/>
                </a:lnTo>
                <a:lnTo>
                  <a:pt x="4006649" y="152027"/>
                </a:lnTo>
                <a:lnTo>
                  <a:pt x="3966910" y="130440"/>
                </a:lnTo>
                <a:lnTo>
                  <a:pt x="3926262" y="110364"/>
                </a:lnTo>
                <a:lnTo>
                  <a:pt x="3884742" y="91836"/>
                </a:lnTo>
                <a:lnTo>
                  <a:pt x="3842388" y="74895"/>
                </a:lnTo>
                <a:lnTo>
                  <a:pt x="3799237" y="59577"/>
                </a:lnTo>
                <a:lnTo>
                  <a:pt x="3755327" y="45921"/>
                </a:lnTo>
                <a:lnTo>
                  <a:pt x="3710696" y="33963"/>
                </a:lnTo>
                <a:lnTo>
                  <a:pt x="3665382" y="23742"/>
                </a:lnTo>
                <a:lnTo>
                  <a:pt x="3619421" y="15295"/>
                </a:lnTo>
                <a:lnTo>
                  <a:pt x="3572851" y="8660"/>
                </a:lnTo>
                <a:lnTo>
                  <a:pt x="3525711" y="3873"/>
                </a:lnTo>
                <a:lnTo>
                  <a:pt x="3478037" y="974"/>
                </a:lnTo>
                <a:lnTo>
                  <a:pt x="3429867" y="0"/>
                </a:lnTo>
                <a:close/>
              </a:path>
            </a:pathLst>
          </a:custGeom>
          <a:solidFill>
            <a:srgbClr val="0A00B9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18">
            <a:extLst>
              <a:ext uri="{FF2B5EF4-FFF2-40B4-BE49-F238E27FC236}">
                <a16:creationId xmlns:a16="http://schemas.microsoft.com/office/drawing/2014/main" id="{B284A477-A0D4-4252-AD91-4BEB0D26A2BE}"/>
              </a:ext>
            </a:extLst>
          </p:cNvPr>
          <p:cNvSpPr/>
          <p:nvPr userDrawn="1"/>
        </p:nvSpPr>
        <p:spPr>
          <a:xfrm>
            <a:off x="7612567" y="2279426"/>
            <a:ext cx="3871595" cy="2299335"/>
          </a:xfrm>
          <a:custGeom>
            <a:avLst/>
            <a:gdLst/>
            <a:ahLst/>
            <a:cxnLst/>
            <a:rect l="l" t="t" r="r" b="b"/>
            <a:pathLst>
              <a:path w="3871595" h="2299335">
                <a:moveTo>
                  <a:pt x="1149565" y="0"/>
                </a:moveTo>
                <a:lnTo>
                  <a:pt x="1101046" y="1010"/>
                </a:lnTo>
                <a:lnTo>
                  <a:pt x="1053033" y="4014"/>
                </a:lnTo>
                <a:lnTo>
                  <a:pt x="1005566" y="8973"/>
                </a:lnTo>
                <a:lnTo>
                  <a:pt x="958687" y="15845"/>
                </a:lnTo>
                <a:lnTo>
                  <a:pt x="912434" y="24591"/>
                </a:lnTo>
                <a:lnTo>
                  <a:pt x="866849" y="35170"/>
                </a:lnTo>
                <a:lnTo>
                  <a:pt x="821971" y="47541"/>
                </a:lnTo>
                <a:lnTo>
                  <a:pt x="777840" y="61666"/>
                </a:lnTo>
                <a:lnTo>
                  <a:pt x="734498" y="77504"/>
                </a:lnTo>
                <a:lnTo>
                  <a:pt x="691983" y="95014"/>
                </a:lnTo>
                <a:lnTo>
                  <a:pt x="650337" y="114156"/>
                </a:lnTo>
                <a:lnTo>
                  <a:pt x="609599" y="134890"/>
                </a:lnTo>
                <a:lnTo>
                  <a:pt x="569810" y="157176"/>
                </a:lnTo>
                <a:lnTo>
                  <a:pt x="531010" y="180973"/>
                </a:lnTo>
                <a:lnTo>
                  <a:pt x="493239" y="206242"/>
                </a:lnTo>
                <a:lnTo>
                  <a:pt x="456537" y="232942"/>
                </a:lnTo>
                <a:lnTo>
                  <a:pt x="420944" y="261033"/>
                </a:lnTo>
                <a:lnTo>
                  <a:pt x="386502" y="290475"/>
                </a:lnTo>
                <a:lnTo>
                  <a:pt x="353249" y="321228"/>
                </a:lnTo>
                <a:lnTo>
                  <a:pt x="321226" y="353251"/>
                </a:lnTo>
                <a:lnTo>
                  <a:pt x="290474" y="386504"/>
                </a:lnTo>
                <a:lnTo>
                  <a:pt x="261032" y="420947"/>
                </a:lnTo>
                <a:lnTo>
                  <a:pt x="232941" y="456539"/>
                </a:lnTo>
                <a:lnTo>
                  <a:pt x="206241" y="493241"/>
                </a:lnTo>
                <a:lnTo>
                  <a:pt x="180973" y="531013"/>
                </a:lnTo>
                <a:lnTo>
                  <a:pt x="157175" y="569814"/>
                </a:lnTo>
                <a:lnTo>
                  <a:pt x="134889" y="609603"/>
                </a:lnTo>
                <a:lnTo>
                  <a:pt x="114155" y="650342"/>
                </a:lnTo>
                <a:lnTo>
                  <a:pt x="95013" y="691988"/>
                </a:lnTo>
                <a:lnTo>
                  <a:pt x="77503" y="734503"/>
                </a:lnTo>
                <a:lnTo>
                  <a:pt x="61666" y="777847"/>
                </a:lnTo>
                <a:lnTo>
                  <a:pt x="47541" y="821978"/>
                </a:lnTo>
                <a:lnTo>
                  <a:pt x="35169" y="866856"/>
                </a:lnTo>
                <a:lnTo>
                  <a:pt x="24591" y="912443"/>
                </a:lnTo>
                <a:lnTo>
                  <a:pt x="15845" y="958696"/>
                </a:lnTo>
                <a:lnTo>
                  <a:pt x="8973" y="1005576"/>
                </a:lnTo>
                <a:lnTo>
                  <a:pt x="4014" y="1053044"/>
                </a:lnTo>
                <a:lnTo>
                  <a:pt x="1010" y="1101058"/>
                </a:lnTo>
                <a:lnTo>
                  <a:pt x="0" y="1149578"/>
                </a:lnTo>
                <a:lnTo>
                  <a:pt x="1010" y="1198098"/>
                </a:lnTo>
                <a:lnTo>
                  <a:pt x="4014" y="1246111"/>
                </a:lnTo>
                <a:lnTo>
                  <a:pt x="8973" y="1293577"/>
                </a:lnTo>
                <a:lnTo>
                  <a:pt x="15845" y="1340457"/>
                </a:lnTo>
                <a:lnTo>
                  <a:pt x="24591" y="1386709"/>
                </a:lnTo>
                <a:lnTo>
                  <a:pt x="35169" y="1432295"/>
                </a:lnTo>
                <a:lnTo>
                  <a:pt x="47541" y="1477173"/>
                </a:lnTo>
                <a:lnTo>
                  <a:pt x="61666" y="1521303"/>
                </a:lnTo>
                <a:lnTo>
                  <a:pt x="77503" y="1564646"/>
                </a:lnTo>
                <a:lnTo>
                  <a:pt x="95013" y="1607160"/>
                </a:lnTo>
                <a:lnTo>
                  <a:pt x="114155" y="1648807"/>
                </a:lnTo>
                <a:lnTo>
                  <a:pt x="134889" y="1689544"/>
                </a:lnTo>
                <a:lnTo>
                  <a:pt x="157175" y="1729334"/>
                </a:lnTo>
                <a:lnTo>
                  <a:pt x="180973" y="1768134"/>
                </a:lnTo>
                <a:lnTo>
                  <a:pt x="206241" y="1805905"/>
                </a:lnTo>
                <a:lnTo>
                  <a:pt x="232941" y="1842607"/>
                </a:lnTo>
                <a:lnTo>
                  <a:pt x="261032" y="1878199"/>
                </a:lnTo>
                <a:lnTo>
                  <a:pt x="290474" y="1912642"/>
                </a:lnTo>
                <a:lnTo>
                  <a:pt x="321226" y="1945895"/>
                </a:lnTo>
                <a:lnTo>
                  <a:pt x="353249" y="1977917"/>
                </a:lnTo>
                <a:lnTo>
                  <a:pt x="386502" y="2008669"/>
                </a:lnTo>
                <a:lnTo>
                  <a:pt x="420944" y="2038111"/>
                </a:lnTo>
                <a:lnTo>
                  <a:pt x="456537" y="2066202"/>
                </a:lnTo>
                <a:lnTo>
                  <a:pt x="493239" y="2092902"/>
                </a:lnTo>
                <a:lnTo>
                  <a:pt x="531010" y="2118171"/>
                </a:lnTo>
                <a:lnTo>
                  <a:pt x="569810" y="2141968"/>
                </a:lnTo>
                <a:lnTo>
                  <a:pt x="609599" y="2164254"/>
                </a:lnTo>
                <a:lnTo>
                  <a:pt x="650337" y="2184988"/>
                </a:lnTo>
                <a:lnTo>
                  <a:pt x="691983" y="2204130"/>
                </a:lnTo>
                <a:lnTo>
                  <a:pt x="734498" y="2221640"/>
                </a:lnTo>
                <a:lnTo>
                  <a:pt x="777840" y="2237477"/>
                </a:lnTo>
                <a:lnTo>
                  <a:pt x="821971" y="2251602"/>
                </a:lnTo>
                <a:lnTo>
                  <a:pt x="866849" y="2263974"/>
                </a:lnTo>
                <a:lnTo>
                  <a:pt x="912434" y="2274553"/>
                </a:lnTo>
                <a:lnTo>
                  <a:pt x="958687" y="2283298"/>
                </a:lnTo>
                <a:lnTo>
                  <a:pt x="1005566" y="2290171"/>
                </a:lnTo>
                <a:lnTo>
                  <a:pt x="1053033" y="2295129"/>
                </a:lnTo>
                <a:lnTo>
                  <a:pt x="1101046" y="2298134"/>
                </a:lnTo>
                <a:lnTo>
                  <a:pt x="1149565" y="2299144"/>
                </a:lnTo>
                <a:lnTo>
                  <a:pt x="2721419" y="2299144"/>
                </a:lnTo>
                <a:lnTo>
                  <a:pt x="2769939" y="2298134"/>
                </a:lnTo>
                <a:lnTo>
                  <a:pt x="2817953" y="2295129"/>
                </a:lnTo>
                <a:lnTo>
                  <a:pt x="2865421" y="2290171"/>
                </a:lnTo>
                <a:lnTo>
                  <a:pt x="2912301" y="2283298"/>
                </a:lnTo>
                <a:lnTo>
                  <a:pt x="2958555" y="2274553"/>
                </a:lnTo>
                <a:lnTo>
                  <a:pt x="3004141" y="2263974"/>
                </a:lnTo>
                <a:lnTo>
                  <a:pt x="3049019" y="2251602"/>
                </a:lnTo>
                <a:lnTo>
                  <a:pt x="3093150" y="2237477"/>
                </a:lnTo>
                <a:lnTo>
                  <a:pt x="3136494" y="2221640"/>
                </a:lnTo>
                <a:lnTo>
                  <a:pt x="3179009" y="2204130"/>
                </a:lnTo>
                <a:lnTo>
                  <a:pt x="3220656" y="2184988"/>
                </a:lnTo>
                <a:lnTo>
                  <a:pt x="3261394" y="2164254"/>
                </a:lnTo>
                <a:lnTo>
                  <a:pt x="3301183" y="2141968"/>
                </a:lnTo>
                <a:lnTo>
                  <a:pt x="3339984" y="2118171"/>
                </a:lnTo>
                <a:lnTo>
                  <a:pt x="3377756" y="2092902"/>
                </a:lnTo>
                <a:lnTo>
                  <a:pt x="3414458" y="2066202"/>
                </a:lnTo>
                <a:lnTo>
                  <a:pt x="3450051" y="2038111"/>
                </a:lnTo>
                <a:lnTo>
                  <a:pt x="3484493" y="2008669"/>
                </a:lnTo>
                <a:lnTo>
                  <a:pt x="3517746" y="1977917"/>
                </a:lnTo>
                <a:lnTo>
                  <a:pt x="3549769" y="1945895"/>
                </a:lnTo>
                <a:lnTo>
                  <a:pt x="3580522" y="1912642"/>
                </a:lnTo>
                <a:lnTo>
                  <a:pt x="3609964" y="1878199"/>
                </a:lnTo>
                <a:lnTo>
                  <a:pt x="3638055" y="1842607"/>
                </a:lnTo>
                <a:lnTo>
                  <a:pt x="3664755" y="1805905"/>
                </a:lnTo>
                <a:lnTo>
                  <a:pt x="3690024" y="1768134"/>
                </a:lnTo>
                <a:lnTo>
                  <a:pt x="3713821" y="1729334"/>
                </a:lnTo>
                <a:lnTo>
                  <a:pt x="3736107" y="1689544"/>
                </a:lnTo>
                <a:lnTo>
                  <a:pt x="3756842" y="1648807"/>
                </a:lnTo>
                <a:lnTo>
                  <a:pt x="3775984" y="1607160"/>
                </a:lnTo>
                <a:lnTo>
                  <a:pt x="3793493" y="1564646"/>
                </a:lnTo>
                <a:lnTo>
                  <a:pt x="3809331" y="1521303"/>
                </a:lnTo>
                <a:lnTo>
                  <a:pt x="3823456" y="1477173"/>
                </a:lnTo>
                <a:lnTo>
                  <a:pt x="3835828" y="1432295"/>
                </a:lnTo>
                <a:lnTo>
                  <a:pt x="3846406" y="1386709"/>
                </a:lnTo>
                <a:lnTo>
                  <a:pt x="3855152" y="1340457"/>
                </a:lnTo>
                <a:lnTo>
                  <a:pt x="3862024" y="1293577"/>
                </a:lnTo>
                <a:lnTo>
                  <a:pt x="3866983" y="1246111"/>
                </a:lnTo>
                <a:lnTo>
                  <a:pt x="3869987" y="1198098"/>
                </a:lnTo>
                <a:lnTo>
                  <a:pt x="3870998" y="1149578"/>
                </a:lnTo>
                <a:lnTo>
                  <a:pt x="3869987" y="1101058"/>
                </a:lnTo>
                <a:lnTo>
                  <a:pt x="3866983" y="1053044"/>
                </a:lnTo>
                <a:lnTo>
                  <a:pt x="3862024" y="1005576"/>
                </a:lnTo>
                <a:lnTo>
                  <a:pt x="3855152" y="958696"/>
                </a:lnTo>
                <a:lnTo>
                  <a:pt x="3846406" y="912443"/>
                </a:lnTo>
                <a:lnTo>
                  <a:pt x="3835828" y="866856"/>
                </a:lnTo>
                <a:lnTo>
                  <a:pt x="3823456" y="821978"/>
                </a:lnTo>
                <a:lnTo>
                  <a:pt x="3809331" y="777847"/>
                </a:lnTo>
                <a:lnTo>
                  <a:pt x="3793493" y="734503"/>
                </a:lnTo>
                <a:lnTo>
                  <a:pt x="3775984" y="691988"/>
                </a:lnTo>
                <a:lnTo>
                  <a:pt x="3756842" y="650342"/>
                </a:lnTo>
                <a:lnTo>
                  <a:pt x="3736107" y="609603"/>
                </a:lnTo>
                <a:lnTo>
                  <a:pt x="3713821" y="569814"/>
                </a:lnTo>
                <a:lnTo>
                  <a:pt x="3690024" y="531013"/>
                </a:lnTo>
                <a:lnTo>
                  <a:pt x="3664755" y="493241"/>
                </a:lnTo>
                <a:lnTo>
                  <a:pt x="3638055" y="456539"/>
                </a:lnTo>
                <a:lnTo>
                  <a:pt x="3609964" y="420947"/>
                </a:lnTo>
                <a:lnTo>
                  <a:pt x="3580522" y="386504"/>
                </a:lnTo>
                <a:lnTo>
                  <a:pt x="3549769" y="353251"/>
                </a:lnTo>
                <a:lnTo>
                  <a:pt x="3517746" y="321228"/>
                </a:lnTo>
                <a:lnTo>
                  <a:pt x="3484493" y="290475"/>
                </a:lnTo>
                <a:lnTo>
                  <a:pt x="3450051" y="261033"/>
                </a:lnTo>
                <a:lnTo>
                  <a:pt x="3414458" y="232942"/>
                </a:lnTo>
                <a:lnTo>
                  <a:pt x="3377756" y="206242"/>
                </a:lnTo>
                <a:lnTo>
                  <a:pt x="3339984" y="180973"/>
                </a:lnTo>
                <a:lnTo>
                  <a:pt x="3301183" y="157176"/>
                </a:lnTo>
                <a:lnTo>
                  <a:pt x="3261394" y="134890"/>
                </a:lnTo>
                <a:lnTo>
                  <a:pt x="3220656" y="114156"/>
                </a:lnTo>
                <a:lnTo>
                  <a:pt x="3179009" y="95014"/>
                </a:lnTo>
                <a:lnTo>
                  <a:pt x="3136494" y="77504"/>
                </a:lnTo>
                <a:lnTo>
                  <a:pt x="3093150" y="61666"/>
                </a:lnTo>
                <a:lnTo>
                  <a:pt x="3049019" y="47541"/>
                </a:lnTo>
                <a:lnTo>
                  <a:pt x="3004141" y="35170"/>
                </a:lnTo>
                <a:lnTo>
                  <a:pt x="2958555" y="24591"/>
                </a:lnTo>
                <a:lnTo>
                  <a:pt x="2912301" y="15845"/>
                </a:lnTo>
                <a:lnTo>
                  <a:pt x="2865421" y="8973"/>
                </a:lnTo>
                <a:lnTo>
                  <a:pt x="2817953" y="4014"/>
                </a:lnTo>
                <a:lnTo>
                  <a:pt x="2769939" y="1010"/>
                </a:lnTo>
                <a:lnTo>
                  <a:pt x="2721419" y="0"/>
                </a:lnTo>
                <a:lnTo>
                  <a:pt x="1149565" y="0"/>
                </a:lnTo>
                <a:close/>
              </a:path>
            </a:pathLst>
          </a:custGeom>
          <a:ln w="38100">
            <a:solidFill>
              <a:srgbClr val="FF5F7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7054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51600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39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image" Target="../media/image9.png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369B3D6-5410-423D-A50A-108583439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3341" y="516366"/>
            <a:ext cx="10597628" cy="71125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GB" noProof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B809858-C448-4931-B22F-77353EEC4E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1178" y="6431655"/>
            <a:ext cx="789791" cy="22385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  <a:latin typeface="Averta-Light" panose="00000400000000000000" pitchFamily="50" charset="0"/>
              </a:defRPr>
            </a:lvl1pPr>
          </a:lstStyle>
          <a:p>
            <a:r>
              <a:rPr lang="en-GB" noProof="0" dirty="0"/>
              <a:t>p.</a:t>
            </a:r>
            <a:fld id="{D92CA001-C456-417F-B118-E8406B435260}" type="slidenum">
              <a:rPr lang="en-GB" noProof="0" smtClean="0"/>
              <a:pPr/>
              <a:t>‹N°›</a:t>
            </a:fld>
            <a:endParaRPr lang="en-GB" noProof="0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768ABCC4-C0E7-43BC-86C3-D6D8FA2AA3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694" b="1041"/>
          <a:stretch/>
        </p:blipFill>
        <p:spPr>
          <a:xfrm>
            <a:off x="0" y="657290"/>
            <a:ext cx="1015742" cy="39513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13861C95-A3BF-4A8E-8520-F37C427B1F5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911" y="6302559"/>
            <a:ext cx="1280160" cy="2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130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4" r:id="rId4"/>
    <p:sldLayoutId id="2147483658" r:id="rId5"/>
    <p:sldLayoutId id="2147483659" r:id="rId6"/>
    <p:sldLayoutId id="2147483656" r:id="rId7"/>
    <p:sldLayoutId id="2147483657" r:id="rId8"/>
    <p:sldLayoutId id="2147483655" r:id="rId9"/>
    <p:sldLayoutId id="2147483661" r:id="rId10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3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verta-Light" panose="00000400000000000000" pitchFamily="50" charset="0"/>
          <a:ea typeface="+mn-ea"/>
          <a:cs typeface="+mn-cs"/>
        </a:defRPr>
      </a:lvl1pPr>
      <a:lvl2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verta-Light" panose="00000400000000000000" pitchFamily="50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verta-Light" panose="00000400000000000000" pitchFamily="50" charset="0"/>
          <a:ea typeface="+mn-ea"/>
          <a:cs typeface="+mn-cs"/>
        </a:defRPr>
      </a:lvl3pPr>
      <a:lvl4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verta-Light" panose="00000400000000000000" pitchFamily="50" charset="0"/>
          <a:ea typeface="+mn-ea"/>
          <a:cs typeface="+mn-cs"/>
        </a:defRPr>
      </a:lvl4pPr>
      <a:lvl5pPr marL="180975" indent="-1809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verta-Light" panose="00000400000000000000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D7CE4319-1DDD-4C18-A12D-B01C3C60E0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385" y="188280"/>
            <a:ext cx="8728136" cy="77787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r-FR" dirty="0"/>
              <a:t>Slide titre texte seul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875E9E5-3E72-4989-83CB-FA43E794FF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04332" y="1621763"/>
            <a:ext cx="10448692" cy="46155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5"/>
            <a:r>
              <a:rPr lang="fr-FR" dirty="0"/>
              <a:t>Six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6367DAF-8156-4748-A92F-575B9C2842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2385" y="6356350"/>
            <a:ext cx="756000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0C6E0FF-7B32-4C7B-B62A-3EEC2F922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08217" y="6356349"/>
            <a:ext cx="5508000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Document </a:t>
            </a:r>
            <a:r>
              <a:rPr lang="fr-FR" dirty="0" err="1"/>
              <a:t>nam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913B446-F1A1-48B0-93C9-0A52625BC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25619" y="6356351"/>
            <a:ext cx="2923995" cy="24285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. </a:t>
            </a:r>
            <a:fld id="{48F1853F-86FA-42BD-A046-4DB51B3E894D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15501995-E2F9-4B45-B2B3-A899251B149A}"/>
              </a:ext>
            </a:extLst>
          </p:cNvPr>
          <p:cNvCxnSpPr>
            <a:cxnSpLocks/>
          </p:cNvCxnSpPr>
          <p:nvPr userDrawn="1"/>
        </p:nvCxnSpPr>
        <p:spPr>
          <a:xfrm>
            <a:off x="0" y="1104181"/>
            <a:ext cx="9270520" cy="0"/>
          </a:xfrm>
          <a:prstGeom prst="line">
            <a:avLst/>
          </a:prstGeom>
          <a:ln w="15875">
            <a:gradFill flip="none" rotWithShape="1">
              <a:gsLst>
                <a:gs pos="73000">
                  <a:schemeClr val="tx2"/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8C0045B8-1D09-430B-9D0B-9CD83BA2E21B}"/>
              </a:ext>
            </a:extLst>
          </p:cNvPr>
          <p:cNvSpPr txBox="1">
            <a:spLocks/>
          </p:cNvSpPr>
          <p:nvPr userDrawn="1"/>
        </p:nvSpPr>
        <p:spPr>
          <a:xfrm>
            <a:off x="1095903" y="6356349"/>
            <a:ext cx="189303" cy="24285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800" dirty="0"/>
              <a:t>─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C23E0CF4-0BE7-46AC-AE7F-9075DA7434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25" b="45849"/>
          <a:stretch/>
        </p:blipFill>
        <p:spPr>
          <a:xfrm>
            <a:off x="10072777" y="401562"/>
            <a:ext cx="1746000" cy="272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934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01" r:id="rId21"/>
    <p:sldLayoutId id="2147483702" r:id="rId22"/>
    <p:sldLayoutId id="2147483703" r:id="rId23"/>
    <p:sldLayoutId id="2147483704" r:id="rId24"/>
    <p:sldLayoutId id="2147483705" r:id="rId25"/>
    <p:sldLayoutId id="2147483706" r:id="rId26"/>
    <p:sldLayoutId id="2147483707" r:id="rId27"/>
    <p:sldLayoutId id="2147483708" r:id="rId28"/>
    <p:sldLayoutId id="2147483709" r:id="rId29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600"/>
        </a:spcBef>
        <a:spcAft>
          <a:spcPts val="200"/>
        </a:spcAft>
        <a:buFont typeface="Arial" panose="020B0604020202020204" pitchFamily="34" charset="0"/>
        <a:buNone/>
        <a:defRPr sz="14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14000"/>
        </a:lnSpc>
        <a:spcBef>
          <a:spcPts val="200"/>
        </a:spcBef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450850" indent="-184150" algn="l" defTabSz="685800" rtl="0" eaLnBrk="1" latinLnBrk="0" hangingPunct="1">
        <a:lnSpc>
          <a:spcPct val="114000"/>
        </a:lnSpc>
        <a:spcBef>
          <a:spcPts val="300"/>
        </a:spcBef>
        <a:buFont typeface="Arial" panose="020B0604020202020204" pitchFamily="34" charset="0"/>
        <a:buChar char="•"/>
        <a:defRPr sz="1000" b="1" kern="1200">
          <a:solidFill>
            <a:schemeClr val="accent1"/>
          </a:solidFill>
          <a:latin typeface="+mn-lt"/>
          <a:ea typeface="+mn-ea"/>
          <a:cs typeface="+mn-cs"/>
        </a:defRPr>
      </a:lvl3pPr>
      <a:lvl4pPr marL="450850" indent="0" algn="l" defTabSz="685800" rtl="0" eaLnBrk="1" latinLnBrk="0" hangingPunct="1">
        <a:lnSpc>
          <a:spcPct val="114000"/>
        </a:lnSpc>
        <a:spcBef>
          <a:spcPts val="300"/>
        </a:spcBef>
        <a:buFont typeface="Arial" panose="020B0604020202020204" pitchFamily="34" charset="0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449263" indent="-182563" algn="l" defTabSz="685800" rtl="0" eaLnBrk="1" latinLnBrk="0" hangingPunct="1">
        <a:lnSpc>
          <a:spcPct val="114000"/>
        </a:lnSpc>
        <a:spcBef>
          <a:spcPts val="300"/>
        </a:spcBef>
        <a:buFont typeface="Arial" panose="020B0604020202020204" pitchFamily="34" charset="0"/>
        <a:buChar char="−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450850" indent="-184150" algn="l" defTabSz="685800" rtl="0" eaLnBrk="1" latinLnBrk="0" hangingPunct="1">
        <a:lnSpc>
          <a:spcPct val="90000"/>
        </a:lnSpc>
        <a:spcBef>
          <a:spcPts val="375"/>
        </a:spcBef>
        <a:buFont typeface="Wingdings" panose="05000000000000000000" pitchFamily="2" charset="2"/>
        <a:buChar char="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pn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png"/><Relationship Id="rId1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9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9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65A9AF67-6D24-4FA2-8055-D7481D876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33143" y="1730076"/>
            <a:ext cx="6300439" cy="1940944"/>
          </a:xfrm>
        </p:spPr>
        <p:txBody>
          <a:bodyPr>
            <a:normAutofit fontScale="90000"/>
          </a:bodyPr>
          <a:lstStyle/>
          <a:p>
            <a: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  <a:t>EUROAPI</a:t>
            </a:r>
            <a:b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3000" dirty="0">
                <a:latin typeface="Arial" panose="020B0604020202020204" pitchFamily="34" charset="0"/>
                <a:cs typeface="Arial" panose="020B0604020202020204" pitchFamily="34" charset="0"/>
              </a:rPr>
              <a:t>Le leader des principes actifs pharmaceutiques à petites molécules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B40AD230-2F47-493A-84F4-B14FDE1432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15 septembre 2022</a:t>
            </a:r>
          </a:p>
        </p:txBody>
      </p:sp>
      <p:sp>
        <p:nvSpPr>
          <p:cNvPr id="4" name="Titre 4">
            <a:extLst>
              <a:ext uri="{FF2B5EF4-FFF2-40B4-BE49-F238E27FC236}">
                <a16:creationId xmlns:a16="http://schemas.microsoft.com/office/drawing/2014/main" id="{EE2C3D16-76CF-B210-2645-8BFC59829714}"/>
              </a:ext>
            </a:extLst>
          </p:cNvPr>
          <p:cNvSpPr txBox="1">
            <a:spLocks/>
          </p:cNvSpPr>
          <p:nvPr/>
        </p:nvSpPr>
        <p:spPr>
          <a:xfrm>
            <a:off x="5233143" y="3671020"/>
            <a:ext cx="6867417" cy="782320"/>
          </a:xfrm>
          <a:prstGeom prst="rect">
            <a:avLst/>
          </a:prstGeom>
        </p:spPr>
        <p:txBody>
          <a:bodyPr vert="horz" lIns="0" tIns="0" rIns="0" bIns="0" rtlCol="0" anchor="b">
            <a:normAutofit fontScale="97500"/>
          </a:bodyPr>
          <a:lstStyle>
            <a:lvl1pPr algn="l" defTabSz="914400" rtl="0" eaLnBrk="1" latinLnBrk="0" hangingPunct="1">
              <a:lnSpc>
                <a:spcPct val="114000"/>
              </a:lnSpc>
              <a:spcBef>
                <a:spcPct val="0"/>
              </a:spcBef>
              <a:buNone/>
              <a:defRPr sz="21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600" b="0" dirty="0">
                <a:latin typeface="Arial" panose="020B0604020202020204" pitchFamily="34" charset="0"/>
                <a:cs typeface="Arial" panose="020B0604020202020204" pitchFamily="34" charset="0"/>
              </a:rPr>
              <a:t>14ème Congrès Inter Régional de la Fédération Hospitalière de France </a:t>
            </a:r>
          </a:p>
          <a:p>
            <a:r>
              <a:rPr lang="fr-FR" sz="1600" b="0" dirty="0">
                <a:latin typeface="Arial" panose="020B0604020202020204" pitchFamily="34" charset="0"/>
                <a:cs typeface="Arial" panose="020B0604020202020204" pitchFamily="34" charset="0"/>
              </a:rPr>
              <a:t>Occitanie – Nouvelle Aquitaine </a:t>
            </a:r>
          </a:p>
        </p:txBody>
      </p:sp>
    </p:spTree>
    <p:extLst>
      <p:ext uri="{BB962C8B-B14F-4D97-AF65-F5344CB8AC3E}">
        <p14:creationId xmlns:p14="http://schemas.microsoft.com/office/powerpoint/2010/main" val="15980121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 : coins arrondis 1">
            <a:extLst>
              <a:ext uri="{FF2B5EF4-FFF2-40B4-BE49-F238E27FC236}">
                <a16:creationId xmlns:a16="http://schemas.microsoft.com/office/drawing/2014/main" id="{52E6EE69-023E-4CC7-B493-5CD6F16F8520}"/>
              </a:ext>
            </a:extLst>
          </p:cNvPr>
          <p:cNvSpPr/>
          <p:nvPr/>
        </p:nvSpPr>
        <p:spPr>
          <a:xfrm>
            <a:off x="6879271" y="1702542"/>
            <a:ext cx="4888040" cy="592019"/>
          </a:xfrm>
          <a:prstGeom prst="roundRect">
            <a:avLst/>
          </a:prstGeom>
          <a:solidFill>
            <a:srgbClr val="0033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2F9A2AF-6238-4658-91E3-D6114AAAAC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GB" noProof="0" dirty="0"/>
              <a:t>p.</a:t>
            </a:r>
            <a:fld id="{D92CA001-C456-417F-B118-E8406B435260}" type="slidenum">
              <a:rPr lang="en-GB" noProof="0" smtClean="0"/>
              <a:pPr/>
              <a:t>2</a:t>
            </a:fld>
            <a:endParaRPr lang="en-GB" noProof="0" dirty="0"/>
          </a:p>
        </p:txBody>
      </p:sp>
      <p:pic>
        <p:nvPicPr>
          <p:cNvPr id="8" name="Google Shape;54;p13">
            <a:extLst>
              <a:ext uri="{FF2B5EF4-FFF2-40B4-BE49-F238E27FC236}">
                <a16:creationId xmlns:a16="http://schemas.microsoft.com/office/drawing/2014/main" id="{BEDE191A-0D03-4DCF-B55C-C02D64626828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-99198" y="218342"/>
            <a:ext cx="11707017" cy="12602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55;p13">
            <a:extLst>
              <a:ext uri="{FF2B5EF4-FFF2-40B4-BE49-F238E27FC236}">
                <a16:creationId xmlns:a16="http://schemas.microsoft.com/office/drawing/2014/main" id="{222A0973-33B3-49F8-8675-31239CFC2954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416944" y="558642"/>
            <a:ext cx="611233" cy="608149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56;p13">
            <a:extLst>
              <a:ext uri="{FF2B5EF4-FFF2-40B4-BE49-F238E27FC236}">
                <a16:creationId xmlns:a16="http://schemas.microsoft.com/office/drawing/2014/main" id="{0C3DE8E3-20E1-484E-886E-089B0CC215D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2872813" y="527473"/>
            <a:ext cx="753864" cy="67048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57;p13">
            <a:extLst>
              <a:ext uri="{FF2B5EF4-FFF2-40B4-BE49-F238E27FC236}">
                <a16:creationId xmlns:a16="http://schemas.microsoft.com/office/drawing/2014/main" id="{3D6ACB5F-A114-4FF2-AF75-38DCFDE1F2C3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5473675" y="454434"/>
            <a:ext cx="611235" cy="816567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Google Shape;58;p13">
            <a:extLst>
              <a:ext uri="{FF2B5EF4-FFF2-40B4-BE49-F238E27FC236}">
                <a16:creationId xmlns:a16="http://schemas.microsoft.com/office/drawing/2014/main" id="{6D2C97BD-AF31-47C1-98AB-A8262E73821C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8439907" y="580149"/>
            <a:ext cx="753867" cy="56513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5" name="Google Shape;59;p13">
            <a:extLst>
              <a:ext uri="{FF2B5EF4-FFF2-40B4-BE49-F238E27FC236}">
                <a16:creationId xmlns:a16="http://schemas.microsoft.com/office/drawing/2014/main" id="{2EDBFE42-0A28-4FAC-8BB6-7B2AA1B7CB1D}"/>
              </a:ext>
            </a:extLst>
          </p:cNvPr>
          <p:cNvCxnSpPr/>
          <p:nvPr/>
        </p:nvCxnSpPr>
        <p:spPr>
          <a:xfrm>
            <a:off x="2575577" y="391100"/>
            <a:ext cx="0" cy="8800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6" name="Google Shape;60;p13">
            <a:extLst>
              <a:ext uri="{FF2B5EF4-FFF2-40B4-BE49-F238E27FC236}">
                <a16:creationId xmlns:a16="http://schemas.microsoft.com/office/drawing/2014/main" id="{991046E5-6C48-4447-A277-601D6C53635F}"/>
              </a:ext>
            </a:extLst>
          </p:cNvPr>
          <p:cNvCxnSpPr/>
          <p:nvPr/>
        </p:nvCxnSpPr>
        <p:spPr>
          <a:xfrm>
            <a:off x="5228043" y="391100"/>
            <a:ext cx="0" cy="8800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cxnSp>
        <p:nvCxnSpPr>
          <p:cNvPr id="17" name="Google Shape;61;p13">
            <a:extLst>
              <a:ext uri="{FF2B5EF4-FFF2-40B4-BE49-F238E27FC236}">
                <a16:creationId xmlns:a16="http://schemas.microsoft.com/office/drawing/2014/main" id="{8B70EF1A-C8FE-4E7F-83E8-110E1638D136}"/>
              </a:ext>
            </a:extLst>
          </p:cNvPr>
          <p:cNvCxnSpPr/>
          <p:nvPr/>
        </p:nvCxnSpPr>
        <p:spPr>
          <a:xfrm>
            <a:off x="8290710" y="391100"/>
            <a:ext cx="0" cy="88000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18" name="Google Shape;62;p13">
            <a:extLst>
              <a:ext uri="{FF2B5EF4-FFF2-40B4-BE49-F238E27FC236}">
                <a16:creationId xmlns:a16="http://schemas.microsoft.com/office/drawing/2014/main" id="{23F1DC02-3EBF-4C2C-AB72-A0A266C2CCCF}"/>
              </a:ext>
            </a:extLst>
          </p:cNvPr>
          <p:cNvSpPr txBox="1"/>
          <p:nvPr/>
        </p:nvSpPr>
        <p:spPr>
          <a:xfrm>
            <a:off x="1150877" y="419034"/>
            <a:ext cx="1321600" cy="53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Google Shape;63;p13">
            <a:extLst>
              <a:ext uri="{FF2B5EF4-FFF2-40B4-BE49-F238E27FC236}">
                <a16:creationId xmlns:a16="http://schemas.microsoft.com/office/drawing/2014/main" id="{D61ECF27-4B6C-4C41-9703-2378E54B6D5C}"/>
              </a:ext>
            </a:extLst>
          </p:cNvPr>
          <p:cNvSpPr txBox="1"/>
          <p:nvPr/>
        </p:nvSpPr>
        <p:spPr>
          <a:xfrm>
            <a:off x="1318510" y="502834"/>
            <a:ext cx="1760000" cy="53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endParaRPr sz="1867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0" name="Google Shape;64;p13">
            <a:extLst>
              <a:ext uri="{FF2B5EF4-FFF2-40B4-BE49-F238E27FC236}">
                <a16:creationId xmlns:a16="http://schemas.microsoft.com/office/drawing/2014/main" id="{FE43C2A1-BD80-4220-854D-C8E98343750E}"/>
              </a:ext>
            </a:extLst>
          </p:cNvPr>
          <p:cNvSpPr txBox="1"/>
          <p:nvPr/>
        </p:nvSpPr>
        <p:spPr>
          <a:xfrm>
            <a:off x="1159303" y="409459"/>
            <a:ext cx="1187200" cy="861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- 200 APIs *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defTabSz="1219170">
              <a:buClr>
                <a:srgbClr val="000000"/>
              </a:buClr>
            </a:pPr>
            <a:r>
              <a:rPr lang="fr-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dans le portefeuille 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1" name="Google Shape;65;p13">
            <a:extLst>
              <a:ext uri="{FF2B5EF4-FFF2-40B4-BE49-F238E27FC236}">
                <a16:creationId xmlns:a16="http://schemas.microsoft.com/office/drawing/2014/main" id="{D2C87C6B-9193-4430-9595-C3EA24EE51F7}"/>
              </a:ext>
            </a:extLst>
          </p:cNvPr>
          <p:cNvSpPr txBox="1"/>
          <p:nvPr/>
        </p:nvSpPr>
        <p:spPr>
          <a:xfrm>
            <a:off x="3762877" y="530767"/>
            <a:ext cx="1760000" cy="656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- 3 350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  <a:p>
            <a:pPr defTabSz="1219170">
              <a:buClr>
                <a:srgbClr val="000000"/>
              </a:buClr>
            </a:pPr>
            <a:r>
              <a:rPr lang="fr-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s</a:t>
            </a:r>
            <a:r>
              <a:rPr lang="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alariés 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2" name="Google Shape;66;p13">
            <a:extLst>
              <a:ext uri="{FF2B5EF4-FFF2-40B4-BE49-F238E27FC236}">
                <a16:creationId xmlns:a16="http://schemas.microsoft.com/office/drawing/2014/main" id="{696FA260-C929-4F4D-863D-C5550B0212A6}"/>
              </a:ext>
            </a:extLst>
          </p:cNvPr>
          <p:cNvSpPr txBox="1"/>
          <p:nvPr/>
        </p:nvSpPr>
        <p:spPr>
          <a:xfrm>
            <a:off x="6257009" y="530767"/>
            <a:ext cx="2033700" cy="656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Incluant – 330 personnes en  R&amp;D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23" name="Google Shape;67;p13">
            <a:extLst>
              <a:ext uri="{FF2B5EF4-FFF2-40B4-BE49-F238E27FC236}">
                <a16:creationId xmlns:a16="http://schemas.microsoft.com/office/drawing/2014/main" id="{F3D80A44-C4B3-477F-8E1A-4566EAD07B0A}"/>
              </a:ext>
            </a:extLst>
          </p:cNvPr>
          <p:cNvSpPr txBox="1"/>
          <p:nvPr/>
        </p:nvSpPr>
        <p:spPr>
          <a:xfrm>
            <a:off x="9147577" y="530767"/>
            <a:ext cx="2006400" cy="861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150 ans d’ expérience dans le marché des APIs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26" name="Google Shape;68;p13">
            <a:extLst>
              <a:ext uri="{FF2B5EF4-FFF2-40B4-BE49-F238E27FC236}">
                <a16:creationId xmlns:a16="http://schemas.microsoft.com/office/drawing/2014/main" id="{9CCC1808-DDCC-4B3D-9A9D-AECED853F670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219805" y="2542875"/>
            <a:ext cx="3855544" cy="3085831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Google Shape;64;p13">
            <a:extLst>
              <a:ext uri="{FF2B5EF4-FFF2-40B4-BE49-F238E27FC236}">
                <a16:creationId xmlns:a16="http://schemas.microsoft.com/office/drawing/2014/main" id="{4A741AF9-FDA6-4C6E-A90A-6B705DF230CB}"/>
              </a:ext>
            </a:extLst>
          </p:cNvPr>
          <p:cNvSpPr txBox="1"/>
          <p:nvPr/>
        </p:nvSpPr>
        <p:spPr>
          <a:xfrm>
            <a:off x="7010439" y="1659844"/>
            <a:ext cx="4756871" cy="656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-FR" sz="1333" b="1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Euroapi : une empreinte industrielle unique en Europe </a:t>
            </a:r>
          </a:p>
          <a:p>
            <a:pPr defTabSz="1219170">
              <a:buClr>
                <a:srgbClr val="000000"/>
              </a:buClr>
            </a:pPr>
            <a:r>
              <a:rPr lang="fr-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(6 sites de fabrication)</a:t>
            </a:r>
          </a:p>
        </p:txBody>
      </p:sp>
      <p:pic>
        <p:nvPicPr>
          <p:cNvPr id="29" name="Image 28">
            <a:extLst>
              <a:ext uri="{FF2B5EF4-FFF2-40B4-BE49-F238E27FC236}">
                <a16:creationId xmlns:a16="http://schemas.microsoft.com/office/drawing/2014/main" id="{87215EE0-A87C-4DE5-9053-1CE3E7A9CB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0352" y="3483393"/>
            <a:ext cx="252000" cy="252000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64D4F8BC-15CC-4A15-BD71-A3B8388B927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9866942" y="3895612"/>
            <a:ext cx="252000" cy="252000"/>
          </a:xfrm>
          <a:prstGeom prst="rect">
            <a:avLst/>
          </a:prstGeom>
        </p:spPr>
      </p:pic>
      <p:sp>
        <p:nvSpPr>
          <p:cNvPr id="31" name="ZoneTexte 30">
            <a:extLst>
              <a:ext uri="{FF2B5EF4-FFF2-40B4-BE49-F238E27FC236}">
                <a16:creationId xmlns:a16="http://schemas.microsoft.com/office/drawing/2014/main" id="{68DB9A44-56BC-4946-98D6-8ECD0807B9F9}"/>
              </a:ext>
            </a:extLst>
          </p:cNvPr>
          <p:cNvSpPr txBox="1"/>
          <p:nvPr/>
        </p:nvSpPr>
        <p:spPr>
          <a:xfrm>
            <a:off x="10789094" y="3483393"/>
            <a:ext cx="1381135" cy="815608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Budapest</a:t>
            </a:r>
            <a:endParaRPr lang="en-US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100" dirty="0">
                <a:solidFill>
                  <a:schemeClr val="tx2"/>
                </a:solidFill>
                <a:latin typeface="Arial"/>
                <a:cs typeface="Arial"/>
              </a:rPr>
              <a:t>API, </a:t>
            </a: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développement</a:t>
            </a:r>
            <a:r>
              <a:rPr lang="en-US" sz="1100" dirty="0">
                <a:solidFill>
                  <a:schemeClr val="tx2"/>
                </a:solidFill>
                <a:latin typeface="Arial"/>
                <a:cs typeface="Arial"/>
              </a:rPr>
              <a:t> et </a:t>
            </a: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prostaglandines</a:t>
            </a:r>
          </a:p>
        </p:txBody>
      </p:sp>
      <p:sp>
        <p:nvSpPr>
          <p:cNvPr id="32" name="ZoneTexte 31">
            <a:extLst>
              <a:ext uri="{FF2B5EF4-FFF2-40B4-BE49-F238E27FC236}">
                <a16:creationId xmlns:a16="http://schemas.microsoft.com/office/drawing/2014/main" id="{75FD50D6-E9BA-4836-A9F5-95244F143C52}"/>
              </a:ext>
            </a:extLst>
          </p:cNvPr>
          <p:cNvSpPr txBox="1"/>
          <p:nvPr/>
        </p:nvSpPr>
        <p:spPr>
          <a:xfrm>
            <a:off x="10440323" y="2474690"/>
            <a:ext cx="1686363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1400" b="1" dirty="0">
                <a:solidFill>
                  <a:schemeClr val="tx2"/>
                </a:solidFill>
                <a:latin typeface="Arial"/>
                <a:cs typeface="Arial"/>
              </a:rPr>
              <a:t>Francfort</a:t>
            </a:r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</a:p>
          <a:p>
            <a:r>
              <a:rPr lang="en-US" sz="1100" dirty="0">
                <a:solidFill>
                  <a:schemeClr val="tx2"/>
                </a:solidFill>
                <a:latin typeface="Arial"/>
                <a:cs typeface="Arial"/>
              </a:rPr>
              <a:t>API, </a:t>
            </a: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développement</a:t>
            </a:r>
            <a:r>
              <a:rPr lang="en-US" sz="1100" dirty="0">
                <a:solidFill>
                  <a:schemeClr val="tx2"/>
                </a:solidFill>
                <a:latin typeface="Arial"/>
                <a:cs typeface="Arial"/>
              </a:rPr>
              <a:t> et </a:t>
            </a: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prostaglandines</a:t>
            </a:r>
          </a:p>
        </p:txBody>
      </p:sp>
      <p:pic>
        <p:nvPicPr>
          <p:cNvPr id="33" name="Image 32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764AB7C2-477E-4847-8E50-5EA80E8AEA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8323" y="4743748"/>
            <a:ext cx="252000" cy="252000"/>
          </a:xfrm>
          <a:prstGeom prst="rect">
            <a:avLst/>
          </a:prstGeom>
        </p:spPr>
      </p:pic>
      <p:sp>
        <p:nvSpPr>
          <p:cNvPr id="34" name="ZoneTexte 33">
            <a:extLst>
              <a:ext uri="{FF2B5EF4-FFF2-40B4-BE49-F238E27FC236}">
                <a16:creationId xmlns:a16="http://schemas.microsoft.com/office/drawing/2014/main" id="{5663BF33-4645-451E-9616-EFCE04AB03A5}"/>
              </a:ext>
            </a:extLst>
          </p:cNvPr>
          <p:cNvSpPr txBox="1"/>
          <p:nvPr/>
        </p:nvSpPr>
        <p:spPr>
          <a:xfrm>
            <a:off x="10723779" y="4588810"/>
            <a:ext cx="1402907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Brindisi </a:t>
            </a:r>
            <a:endParaRPr lang="en-US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API, anti-infectieux, chimie et biochimie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AC2797E1-2A95-486B-B3AE-78C3ABDBE797}"/>
              </a:ext>
            </a:extLst>
          </p:cNvPr>
          <p:cNvSpPr txBox="1"/>
          <p:nvPr/>
        </p:nvSpPr>
        <p:spPr>
          <a:xfrm>
            <a:off x="6276470" y="4542867"/>
            <a:ext cx="1530333" cy="815608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1400" b="1" dirty="0">
                <a:solidFill>
                  <a:schemeClr val="tx2"/>
                </a:solidFill>
                <a:latin typeface="Arial"/>
                <a:cs typeface="Arial"/>
              </a:rPr>
              <a:t>Vertolaye</a:t>
            </a:r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  </a:t>
            </a:r>
            <a:endParaRPr lang="en-US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API, corticostéroïdes, micronisation et chimie des solides</a:t>
            </a:r>
          </a:p>
        </p:txBody>
      </p:sp>
      <p:pic>
        <p:nvPicPr>
          <p:cNvPr id="36" name="Image 35">
            <a:extLst>
              <a:ext uri="{FF2B5EF4-FFF2-40B4-BE49-F238E27FC236}">
                <a16:creationId xmlns:a16="http://schemas.microsoft.com/office/drawing/2014/main" id="{81C65A30-C6E6-43DA-8D79-5F95CC1B88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5617" y="5557184"/>
            <a:ext cx="612649" cy="609601"/>
          </a:xfrm>
          <a:prstGeom prst="rect">
            <a:avLst/>
          </a:prstGeom>
        </p:spPr>
      </p:pic>
      <p:sp>
        <p:nvSpPr>
          <p:cNvPr id="37" name="ZoneTexte 36">
            <a:extLst>
              <a:ext uri="{FF2B5EF4-FFF2-40B4-BE49-F238E27FC236}">
                <a16:creationId xmlns:a16="http://schemas.microsoft.com/office/drawing/2014/main" id="{4131A04A-A9A9-4330-9FDD-EBEAF8F37D45}"/>
              </a:ext>
            </a:extLst>
          </p:cNvPr>
          <p:cNvSpPr txBox="1"/>
          <p:nvPr/>
        </p:nvSpPr>
        <p:spPr>
          <a:xfrm>
            <a:off x="6210565" y="3461998"/>
            <a:ext cx="1530333" cy="646331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1400" b="1" dirty="0">
                <a:solidFill>
                  <a:schemeClr val="tx2"/>
                </a:solidFill>
                <a:latin typeface="Arial"/>
                <a:cs typeface="Arial"/>
              </a:rPr>
              <a:t>Elbeuf </a:t>
            </a:r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endParaRPr lang="en-US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Fermentation et vitamine B12 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22D1A75C-4818-48A3-B2BE-31B8564F003A}"/>
              </a:ext>
            </a:extLst>
          </p:cNvPr>
          <p:cNvSpPr txBox="1"/>
          <p:nvPr/>
        </p:nvSpPr>
        <p:spPr>
          <a:xfrm>
            <a:off x="6257009" y="2447052"/>
            <a:ext cx="1530333" cy="815608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1400" b="1" dirty="0">
                <a:solidFill>
                  <a:schemeClr val="tx2"/>
                </a:solidFill>
                <a:latin typeface="Arial"/>
                <a:cs typeface="Arial"/>
              </a:rPr>
              <a:t>Haverhill  </a:t>
            </a:r>
            <a:r>
              <a:rPr lang="en-US" sz="1400" b="1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endParaRPr lang="en-US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Chimie en continu et séchage par atomisation </a:t>
            </a:r>
          </a:p>
        </p:txBody>
      </p:sp>
      <p:pic>
        <p:nvPicPr>
          <p:cNvPr id="39" name="Image 38">
            <a:extLst>
              <a:ext uri="{FF2B5EF4-FFF2-40B4-BE49-F238E27FC236}">
                <a16:creationId xmlns:a16="http://schemas.microsoft.com/office/drawing/2014/main" id="{35738429-86C9-432F-8DF9-224521F7A18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5789" y="3233374"/>
            <a:ext cx="253880" cy="252000"/>
          </a:xfrm>
          <a:prstGeom prst="rect">
            <a:avLst/>
          </a:prstGeom>
        </p:spPr>
      </p:pic>
      <p:pic>
        <p:nvPicPr>
          <p:cNvPr id="40" name="Image 39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082A1367-6DCE-42F7-B842-2455EC65C2D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055" y="3610484"/>
            <a:ext cx="252000" cy="252000"/>
          </a:xfrm>
          <a:prstGeom prst="rect">
            <a:avLst/>
          </a:prstGeom>
        </p:spPr>
      </p:pic>
      <p:pic>
        <p:nvPicPr>
          <p:cNvPr id="41" name="Image 40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A569E487-CC85-48F9-A9BB-B9180DBBAB0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138" y="4108329"/>
            <a:ext cx="252000" cy="252000"/>
          </a:xfrm>
          <a:prstGeom prst="rect">
            <a:avLst/>
          </a:prstGeom>
        </p:spPr>
      </p:pic>
      <p:pic>
        <p:nvPicPr>
          <p:cNvPr id="42" name="Image 41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CCB03267-85AB-4B8C-A977-87B6F2B55FD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4342" y="5962053"/>
            <a:ext cx="252000" cy="252000"/>
          </a:xfrm>
          <a:prstGeom prst="rect">
            <a:avLst/>
          </a:prstGeom>
        </p:spPr>
      </p:pic>
      <p:sp>
        <p:nvSpPr>
          <p:cNvPr id="43" name="ZoneTexte 42">
            <a:extLst>
              <a:ext uri="{FF2B5EF4-FFF2-40B4-BE49-F238E27FC236}">
                <a16:creationId xmlns:a16="http://schemas.microsoft.com/office/drawing/2014/main" id="{4967F8C6-C750-4B92-9A70-F49858F30F82}"/>
              </a:ext>
            </a:extLst>
          </p:cNvPr>
          <p:cNvSpPr txBox="1"/>
          <p:nvPr/>
        </p:nvSpPr>
        <p:spPr>
          <a:xfrm>
            <a:off x="9416811" y="5955658"/>
            <a:ext cx="1530333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1400" b="1" dirty="0">
                <a:solidFill>
                  <a:schemeClr val="tx2"/>
                </a:solidFill>
                <a:latin typeface="Arial"/>
                <a:cs typeface="Arial"/>
              </a:rPr>
              <a:t>Paris </a:t>
            </a: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Siège social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94495D11-616D-4330-810F-EB6C591ADA4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642178" y="5613629"/>
            <a:ext cx="2136753" cy="1015253"/>
          </a:xfrm>
          <a:prstGeom prst="rect">
            <a:avLst/>
          </a:prstGeom>
        </p:spPr>
      </p:pic>
      <p:pic>
        <p:nvPicPr>
          <p:cNvPr id="48" name="Google Shape;54;p13">
            <a:extLst>
              <a:ext uri="{FF2B5EF4-FFF2-40B4-BE49-F238E27FC236}">
                <a16:creationId xmlns:a16="http://schemas.microsoft.com/office/drawing/2014/main" id="{6070034F-DE66-4B9E-ABB9-BB0EDBDB71CC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026205" y="2770859"/>
            <a:ext cx="2329086" cy="329863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Google Shape;64;p13">
            <a:extLst>
              <a:ext uri="{FF2B5EF4-FFF2-40B4-BE49-F238E27FC236}">
                <a16:creationId xmlns:a16="http://schemas.microsoft.com/office/drawing/2014/main" id="{8847FFD2-7549-458E-B4CF-836078AD662D}"/>
              </a:ext>
            </a:extLst>
          </p:cNvPr>
          <p:cNvSpPr txBox="1"/>
          <p:nvPr/>
        </p:nvSpPr>
        <p:spPr>
          <a:xfrm>
            <a:off x="3082081" y="2717694"/>
            <a:ext cx="2177122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-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Corticoïdes &amp; Hormones 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50" name="Google Shape;54;p13">
            <a:extLst>
              <a:ext uri="{FF2B5EF4-FFF2-40B4-BE49-F238E27FC236}">
                <a16:creationId xmlns:a16="http://schemas.microsoft.com/office/drawing/2014/main" id="{D4449D0D-B22D-4461-82B1-BF1D6647CCFD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3392" y="3938834"/>
            <a:ext cx="2288596" cy="509436"/>
          </a:xfrm>
          <a:prstGeom prst="rect">
            <a:avLst/>
          </a:prstGeom>
          <a:noFill/>
          <a:ln>
            <a:noFill/>
          </a:ln>
        </p:spPr>
      </p:pic>
      <p:sp>
        <p:nvSpPr>
          <p:cNvPr id="51" name="Google Shape;64;p13">
            <a:extLst>
              <a:ext uri="{FF2B5EF4-FFF2-40B4-BE49-F238E27FC236}">
                <a16:creationId xmlns:a16="http://schemas.microsoft.com/office/drawing/2014/main" id="{01C03DBE-1380-4BDA-93D3-DF34878C8EE4}"/>
              </a:ext>
            </a:extLst>
          </p:cNvPr>
          <p:cNvSpPr txBox="1"/>
          <p:nvPr/>
        </p:nvSpPr>
        <p:spPr>
          <a:xfrm>
            <a:off x="331214" y="3875986"/>
            <a:ext cx="1890950" cy="656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Opiacés et substances contrôlées  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53" name="ZoneTexte 52">
            <a:extLst>
              <a:ext uri="{FF2B5EF4-FFF2-40B4-BE49-F238E27FC236}">
                <a16:creationId xmlns:a16="http://schemas.microsoft.com/office/drawing/2014/main" id="{25B4CFA3-4063-4BD0-AF13-33CFD3C2E7E7}"/>
              </a:ext>
            </a:extLst>
          </p:cNvPr>
          <p:cNvSpPr txBox="1"/>
          <p:nvPr/>
        </p:nvSpPr>
        <p:spPr>
          <a:xfrm>
            <a:off x="3035752" y="4373660"/>
            <a:ext cx="2222646" cy="261610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Seul fabricant occidental </a:t>
            </a:r>
          </a:p>
        </p:txBody>
      </p:sp>
      <p:sp>
        <p:nvSpPr>
          <p:cNvPr id="54" name="ZoneTexte 53">
            <a:extLst>
              <a:ext uri="{FF2B5EF4-FFF2-40B4-BE49-F238E27FC236}">
                <a16:creationId xmlns:a16="http://schemas.microsoft.com/office/drawing/2014/main" id="{5B61392F-14AB-40FB-BAC9-29ED7FB7894A}"/>
              </a:ext>
            </a:extLst>
          </p:cNvPr>
          <p:cNvSpPr txBox="1"/>
          <p:nvPr/>
        </p:nvSpPr>
        <p:spPr>
          <a:xfrm>
            <a:off x="3035752" y="3156665"/>
            <a:ext cx="2222646" cy="60016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Seul fabricant européen intégré et acteur indépendan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Plus de 60 ans d’expérience</a:t>
            </a:r>
          </a:p>
        </p:txBody>
      </p:sp>
      <p:pic>
        <p:nvPicPr>
          <p:cNvPr id="55" name="Google Shape;54;p13">
            <a:extLst>
              <a:ext uri="{FF2B5EF4-FFF2-40B4-BE49-F238E27FC236}">
                <a16:creationId xmlns:a16="http://schemas.microsoft.com/office/drawing/2014/main" id="{05AEF184-4F77-4167-A35D-5C88F7EDA9AB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115905" y="3960352"/>
            <a:ext cx="2184670" cy="329863"/>
          </a:xfrm>
          <a:prstGeom prst="rect">
            <a:avLst/>
          </a:prstGeom>
          <a:noFill/>
          <a:ln>
            <a:noFill/>
          </a:ln>
        </p:spPr>
      </p:pic>
      <p:sp>
        <p:nvSpPr>
          <p:cNvPr id="56" name="Google Shape;64;p13">
            <a:extLst>
              <a:ext uri="{FF2B5EF4-FFF2-40B4-BE49-F238E27FC236}">
                <a16:creationId xmlns:a16="http://schemas.microsoft.com/office/drawing/2014/main" id="{3377824C-DF00-4965-9CE1-318B43C60B3E}"/>
              </a:ext>
            </a:extLst>
          </p:cNvPr>
          <p:cNvSpPr txBox="1"/>
          <p:nvPr/>
        </p:nvSpPr>
        <p:spPr>
          <a:xfrm>
            <a:off x="3230729" y="3908708"/>
            <a:ext cx="1935831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-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Vitamine B12 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57" name="ZoneTexte 56">
            <a:extLst>
              <a:ext uri="{FF2B5EF4-FFF2-40B4-BE49-F238E27FC236}">
                <a16:creationId xmlns:a16="http://schemas.microsoft.com/office/drawing/2014/main" id="{C9E3BBCF-6B7C-4BAD-8292-C28E8CABD475}"/>
              </a:ext>
            </a:extLst>
          </p:cNvPr>
          <p:cNvSpPr txBox="1"/>
          <p:nvPr/>
        </p:nvSpPr>
        <p:spPr>
          <a:xfrm>
            <a:off x="84548" y="4482818"/>
            <a:ext cx="2900640" cy="938719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Une activité de bout en bout, des graines de pavot aux principes actif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Large gamme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Marché des stupéfiants très réglementé (Euroapi seul producteur en France)</a:t>
            </a:r>
          </a:p>
        </p:txBody>
      </p:sp>
      <p:sp>
        <p:nvSpPr>
          <p:cNvPr id="58" name="Rectangle : coins arrondis 57">
            <a:extLst>
              <a:ext uri="{FF2B5EF4-FFF2-40B4-BE49-F238E27FC236}">
                <a16:creationId xmlns:a16="http://schemas.microsoft.com/office/drawing/2014/main" id="{6934FF36-18D1-49B4-B836-DAB0825DC988}"/>
              </a:ext>
            </a:extLst>
          </p:cNvPr>
          <p:cNvSpPr/>
          <p:nvPr/>
        </p:nvSpPr>
        <p:spPr>
          <a:xfrm>
            <a:off x="146232" y="1714711"/>
            <a:ext cx="5149809" cy="807775"/>
          </a:xfrm>
          <a:prstGeom prst="roundRect">
            <a:avLst/>
          </a:prstGeom>
          <a:solidFill>
            <a:srgbClr val="00339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5" name="Google Shape;64;p13">
            <a:extLst>
              <a:ext uri="{FF2B5EF4-FFF2-40B4-BE49-F238E27FC236}">
                <a16:creationId xmlns:a16="http://schemas.microsoft.com/office/drawing/2014/main" id="{2C1A5686-4EE3-4BE4-A20D-8221552C7372}"/>
              </a:ext>
            </a:extLst>
          </p:cNvPr>
          <p:cNvSpPr txBox="1"/>
          <p:nvPr/>
        </p:nvSpPr>
        <p:spPr>
          <a:xfrm>
            <a:off x="403761" y="1692590"/>
            <a:ext cx="5224801" cy="8615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" sz="1333" b="1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Euroapi : Une large gamme de principes actifs couvrant de nombreux domaines thérapeutqiues ( produits princeps et génériques) via des plateformes dédiées</a:t>
            </a:r>
            <a:endParaRPr sz="1333" b="1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pic>
        <p:nvPicPr>
          <p:cNvPr id="59" name="Google Shape;54;p13">
            <a:extLst>
              <a:ext uri="{FF2B5EF4-FFF2-40B4-BE49-F238E27FC236}">
                <a16:creationId xmlns:a16="http://schemas.microsoft.com/office/drawing/2014/main" id="{ABCA77FA-ECDB-4FC0-9F29-DFC6589D76AA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3113447" y="4817693"/>
            <a:ext cx="2241844" cy="527916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4;p13">
            <a:extLst>
              <a:ext uri="{FF2B5EF4-FFF2-40B4-BE49-F238E27FC236}">
                <a16:creationId xmlns:a16="http://schemas.microsoft.com/office/drawing/2014/main" id="{643E4DE6-6578-495A-AB99-E7CFFC0EDAEE}"/>
              </a:ext>
            </a:extLst>
          </p:cNvPr>
          <p:cNvSpPr txBox="1"/>
          <p:nvPr/>
        </p:nvSpPr>
        <p:spPr>
          <a:xfrm>
            <a:off x="3176682" y="4763093"/>
            <a:ext cx="2128045" cy="6564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-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Autres molécules petites et complexes 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2" name="ZoneTexte 61">
            <a:extLst>
              <a:ext uri="{FF2B5EF4-FFF2-40B4-BE49-F238E27FC236}">
                <a16:creationId xmlns:a16="http://schemas.microsoft.com/office/drawing/2014/main" id="{86EE08B2-CBD2-45BA-B874-EF6AAE06E563}"/>
              </a:ext>
            </a:extLst>
          </p:cNvPr>
          <p:cNvSpPr txBox="1"/>
          <p:nvPr/>
        </p:nvSpPr>
        <p:spPr>
          <a:xfrm>
            <a:off x="3035752" y="5449173"/>
            <a:ext cx="2509668" cy="938719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Une offre large pour de multiples domaines thérapeutiques en santé humaine et animale destinée à des médicaments de prescription, OTC et santé animale </a:t>
            </a:r>
          </a:p>
        </p:txBody>
      </p:sp>
      <p:pic>
        <p:nvPicPr>
          <p:cNvPr id="63" name="Google Shape;54;p13">
            <a:extLst>
              <a:ext uri="{FF2B5EF4-FFF2-40B4-BE49-F238E27FC236}">
                <a16:creationId xmlns:a16="http://schemas.microsoft.com/office/drawing/2014/main" id="{727B8868-3808-4965-A225-2E1711A7C238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3391" y="2770859"/>
            <a:ext cx="2184670" cy="329863"/>
          </a:xfrm>
          <a:prstGeom prst="rect">
            <a:avLst/>
          </a:prstGeom>
          <a:noFill/>
          <a:ln>
            <a:noFill/>
          </a:ln>
        </p:spPr>
      </p:pic>
      <p:sp>
        <p:nvSpPr>
          <p:cNvPr id="64" name="Google Shape;64;p13">
            <a:extLst>
              <a:ext uri="{FF2B5EF4-FFF2-40B4-BE49-F238E27FC236}">
                <a16:creationId xmlns:a16="http://schemas.microsoft.com/office/drawing/2014/main" id="{0CCB97A5-A112-4CB4-B4E5-6D88D542007C}"/>
              </a:ext>
            </a:extLst>
          </p:cNvPr>
          <p:cNvSpPr txBox="1"/>
          <p:nvPr/>
        </p:nvSpPr>
        <p:spPr>
          <a:xfrm>
            <a:off x="286289" y="2696428"/>
            <a:ext cx="1872051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-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Anti-infectieux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5" name="ZoneTexte 64">
            <a:extLst>
              <a:ext uri="{FF2B5EF4-FFF2-40B4-BE49-F238E27FC236}">
                <a16:creationId xmlns:a16="http://schemas.microsoft.com/office/drawing/2014/main" id="{22AFDA14-887D-4FF6-985A-851566D2ED05}"/>
              </a:ext>
            </a:extLst>
          </p:cNvPr>
          <p:cNvSpPr txBox="1"/>
          <p:nvPr/>
        </p:nvSpPr>
        <p:spPr>
          <a:xfrm>
            <a:off x="84547" y="3119948"/>
            <a:ext cx="2177122" cy="60016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Une forte expérience en fermentation y compris sur de gros volumes  </a:t>
            </a:r>
          </a:p>
        </p:txBody>
      </p:sp>
      <p:pic>
        <p:nvPicPr>
          <p:cNvPr id="66" name="Google Shape;54;p13">
            <a:extLst>
              <a:ext uri="{FF2B5EF4-FFF2-40B4-BE49-F238E27FC236}">
                <a16:creationId xmlns:a16="http://schemas.microsoft.com/office/drawing/2014/main" id="{F6CE01F5-E03A-4C34-B496-73AC4C637E38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43391" y="5605948"/>
            <a:ext cx="2104509" cy="329863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Google Shape;64;p13">
            <a:extLst>
              <a:ext uri="{FF2B5EF4-FFF2-40B4-BE49-F238E27FC236}">
                <a16:creationId xmlns:a16="http://schemas.microsoft.com/office/drawing/2014/main" id="{C04BDB5C-640B-40FF-BB9C-5EB174701795}"/>
              </a:ext>
            </a:extLst>
          </p:cNvPr>
          <p:cNvSpPr txBox="1"/>
          <p:nvPr/>
        </p:nvSpPr>
        <p:spPr>
          <a:xfrm>
            <a:off x="326863" y="5541011"/>
            <a:ext cx="1872051" cy="45130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defTabSz="1219170">
              <a:buClr>
                <a:srgbClr val="000000"/>
              </a:buClr>
            </a:pPr>
            <a:r>
              <a:rPr lang="fr" sz="1333" kern="0" dirty="0">
                <a:solidFill>
                  <a:srgbClr val="FFFFFF"/>
                </a:solidFill>
                <a:latin typeface="Lato"/>
                <a:ea typeface="Lato"/>
                <a:cs typeface="Lato"/>
                <a:sym typeface="Lato"/>
              </a:rPr>
              <a:t>Prostaglandines </a:t>
            </a:r>
            <a:endParaRPr sz="1333" kern="0" dirty="0">
              <a:solidFill>
                <a:srgbClr val="FFFFFF"/>
              </a:solidFill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68" name="ZoneTexte 67">
            <a:extLst>
              <a:ext uri="{FF2B5EF4-FFF2-40B4-BE49-F238E27FC236}">
                <a16:creationId xmlns:a16="http://schemas.microsoft.com/office/drawing/2014/main" id="{C4C339AD-0984-4235-8185-160B490B9C93}"/>
              </a:ext>
            </a:extLst>
          </p:cNvPr>
          <p:cNvSpPr txBox="1"/>
          <p:nvPr/>
        </p:nvSpPr>
        <p:spPr>
          <a:xfrm>
            <a:off x="84547" y="5981477"/>
            <a:ext cx="2222646" cy="261610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chemeClr val="tx2"/>
                </a:solidFill>
                <a:latin typeface="Arial"/>
                <a:cs typeface="Arial"/>
              </a:rPr>
              <a:t>Plus de 45 ans d’expérience</a:t>
            </a: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2EA956B3-2594-4F3D-94DB-66951ED42117}"/>
              </a:ext>
            </a:extLst>
          </p:cNvPr>
          <p:cNvSpPr txBox="1"/>
          <p:nvPr/>
        </p:nvSpPr>
        <p:spPr>
          <a:xfrm>
            <a:off x="1574886" y="6490139"/>
            <a:ext cx="4108618" cy="21544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800" dirty="0">
                <a:solidFill>
                  <a:schemeClr val="tx2"/>
                </a:solidFill>
                <a:latin typeface="Arial"/>
                <a:cs typeface="Arial"/>
              </a:rPr>
              <a:t>* API : Active Pharmaceutical Ingrédient </a:t>
            </a:r>
          </a:p>
        </p:txBody>
      </p:sp>
    </p:spTree>
    <p:extLst>
      <p:ext uri="{BB962C8B-B14F-4D97-AF65-F5344CB8AC3E}">
        <p14:creationId xmlns:p14="http://schemas.microsoft.com/office/powerpoint/2010/main" val="20137059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855A1BE-3F3D-4361-A6EF-DC176095C5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080" y="123211"/>
            <a:ext cx="9646920" cy="777877"/>
          </a:xfrm>
        </p:spPr>
        <p:txBody>
          <a:bodyPr/>
          <a:lstStyle/>
          <a:p>
            <a:r>
              <a:rPr lang="fr-FR" dirty="0"/>
              <a:t>Les différentes crises ont été ou sont des révélateurs et des accélérateurs poussant les pouvoirs publics en France et en Europe à inscrire une stratégie industrielle et une stratégie en santé pour 2030. 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031FEC5-2F79-48C3-9F03-15555C2DD31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0/00/2021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3D8F359-53AE-4636-A2FE-010174C553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. </a:t>
            </a:r>
            <a:fld id="{48F1853F-86FA-42BD-A046-4DB51B3E894D}" type="slidenum">
              <a:rPr kumimoji="0" lang="fr-FR" sz="800" b="0" i="0" u="none" strike="noStrike" kern="1200" cap="none" spc="0" normalizeH="0" baseline="0" noProof="0" smtClean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800" b="0" i="0" u="none" strike="noStrike" kern="1200" cap="none" spc="0" normalizeH="0" baseline="0" noProof="0">
              <a:ln>
                <a:noFill/>
              </a:ln>
              <a:solidFill>
                <a:srgbClr val="0A00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1CF5AD-14A5-4F20-A2E9-8D4B0CC6CCC0}"/>
              </a:ext>
            </a:extLst>
          </p:cNvPr>
          <p:cNvSpPr/>
          <p:nvPr/>
        </p:nvSpPr>
        <p:spPr>
          <a:xfrm>
            <a:off x="1298385" y="1264089"/>
            <a:ext cx="3309257" cy="522514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se du Covid 19 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CBD117F-E9EC-490E-933E-582E3FA8B9F7}"/>
              </a:ext>
            </a:extLst>
          </p:cNvPr>
          <p:cNvSpPr txBox="1"/>
          <p:nvPr/>
        </p:nvSpPr>
        <p:spPr>
          <a:xfrm>
            <a:off x="0" y="3083943"/>
            <a:ext cx="1471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tats  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BA96E49C-98FB-44D4-80DC-71956B1AAC60}"/>
              </a:ext>
            </a:extLst>
          </p:cNvPr>
          <p:cNvSpPr txBox="1"/>
          <p:nvPr/>
        </p:nvSpPr>
        <p:spPr>
          <a:xfrm>
            <a:off x="1244245" y="1948011"/>
            <a:ext cx="7665653" cy="1077218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0A00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France et l’Europe ont une dépendance industrielle et technologique. Certaines chaînes de valeurs sont fragilisées dont les APIs et certains intermédiair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0A00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50D7A12-5972-4EFA-BDAF-49B2470EE1F3}"/>
              </a:ext>
            </a:extLst>
          </p:cNvPr>
          <p:cNvSpPr txBox="1"/>
          <p:nvPr/>
        </p:nvSpPr>
        <p:spPr>
          <a:xfrm>
            <a:off x="1370047" y="6473780"/>
            <a:ext cx="77369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 Mettre fin aux GES ( Gaz a Effet de Serre) en Europe d’ici 2050, avec 55% de GES en moins dès 2030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558D1B29-60BB-FC86-A9DA-8974BACFECD5}"/>
              </a:ext>
            </a:extLst>
          </p:cNvPr>
          <p:cNvSpPr txBox="1"/>
          <p:nvPr/>
        </p:nvSpPr>
        <p:spPr>
          <a:xfrm>
            <a:off x="1370047" y="3823089"/>
            <a:ext cx="9413595" cy="1384995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r>
              <a:rPr lang="fr-FR" sz="1400" dirty="0">
                <a:solidFill>
                  <a:schemeClr val="tx2"/>
                </a:solidFill>
              </a:rPr>
              <a:t>Dans quelle mesure la chaîne d'approvisionnement en médicaments de l'UE dépend-elle de l'Asie ?</a:t>
            </a:r>
          </a:p>
          <a:p>
            <a:endParaRPr lang="fr-FR" sz="14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2"/>
                </a:solidFill>
              </a:rPr>
              <a:t>~ 2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2"/>
                </a:solidFill>
              </a:rPr>
              <a:t>~ 50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2"/>
                </a:solidFill>
              </a:rPr>
              <a:t>~ 7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chemeClr val="tx2"/>
                </a:solidFill>
              </a:rPr>
              <a:t>~ 100%</a:t>
            </a:r>
          </a:p>
        </p:txBody>
      </p:sp>
      <p:pic>
        <p:nvPicPr>
          <p:cNvPr id="44" name="Picture 4" descr="Afficher l’image source">
            <a:extLst>
              <a:ext uri="{FF2B5EF4-FFF2-40B4-BE49-F238E27FC236}">
                <a16:creationId xmlns:a16="http://schemas.microsoft.com/office/drawing/2014/main" id="{FBBE3B98-5AEC-0048-C72C-B6C493F29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465" y="1727471"/>
            <a:ext cx="546618" cy="546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" descr="Afficher l’image source">
            <a:extLst>
              <a:ext uri="{FF2B5EF4-FFF2-40B4-BE49-F238E27FC236}">
                <a16:creationId xmlns:a16="http://schemas.microsoft.com/office/drawing/2014/main" id="{2655AA01-C5C5-3D8A-0ECD-C761707D92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345" y="2302620"/>
            <a:ext cx="565220" cy="56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44582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B6D2164-247D-B2C7-5073-626822D2D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118F516-9268-D5A2-6D0F-329A19E1153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39C8903-777D-B90F-D72F-61D6EB6B0B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Document nam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1BBE354-6008-903D-AE37-6316AF7C47A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4</a:t>
            </a:fld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1280089B-B87E-3CFC-2426-DDE48A0C87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87" y="133350"/>
            <a:ext cx="12011025" cy="6724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8503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855A1BE-3F3D-4361-A6EF-DC176095C5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080" y="123211"/>
            <a:ext cx="9646920" cy="777877"/>
          </a:xfrm>
        </p:spPr>
        <p:txBody>
          <a:bodyPr/>
          <a:lstStyle/>
          <a:p>
            <a:r>
              <a:rPr lang="fr-FR" dirty="0"/>
              <a:t>Les différentes crises ont été ou sont des révélateurs et des accélérateurs poussant les pouvoirs publics en France et en Europe à inscrire une stratégie industrielle et une stratégie en santé pour 2030. 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031FEC5-2F79-48C3-9F03-15555C2DD31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0/00/2021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3D8F359-53AE-4636-A2FE-010174C553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. </a:t>
            </a:r>
            <a:fld id="{48F1853F-86FA-42BD-A046-4DB51B3E894D}" type="slidenum">
              <a:rPr kumimoji="0" lang="fr-FR" sz="800" b="0" i="0" u="none" strike="noStrike" kern="1200" cap="none" spc="0" normalizeH="0" baseline="0" noProof="0" smtClean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800" b="0" i="0" u="none" strike="noStrike" kern="1200" cap="none" spc="0" normalizeH="0" baseline="0" noProof="0">
              <a:ln>
                <a:noFill/>
              </a:ln>
              <a:solidFill>
                <a:srgbClr val="0A00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1CF5AD-14A5-4F20-A2E9-8D4B0CC6CCC0}"/>
              </a:ext>
            </a:extLst>
          </p:cNvPr>
          <p:cNvSpPr/>
          <p:nvPr/>
        </p:nvSpPr>
        <p:spPr>
          <a:xfrm>
            <a:off x="1300875" y="1159050"/>
            <a:ext cx="3309257" cy="522514"/>
          </a:xfrm>
          <a:prstGeom prst="rect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se du Covid 19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BD2BB8-CAC8-4B2F-95DA-84EE384E9D5C}"/>
              </a:ext>
            </a:extLst>
          </p:cNvPr>
          <p:cNvSpPr/>
          <p:nvPr/>
        </p:nvSpPr>
        <p:spPr>
          <a:xfrm>
            <a:off x="5463170" y="1165614"/>
            <a:ext cx="3309257" cy="522514"/>
          </a:xfrm>
          <a:prstGeom prst="rect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mat - Environnement 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A7859B-E57E-4F89-8D60-983EED7CCCD8}"/>
              </a:ext>
            </a:extLst>
          </p:cNvPr>
          <p:cNvSpPr/>
          <p:nvPr/>
        </p:nvSpPr>
        <p:spPr>
          <a:xfrm>
            <a:off x="9520738" y="1148125"/>
            <a:ext cx="2128876" cy="575199"/>
          </a:xfrm>
          <a:prstGeom prst="rect">
            <a:avLst/>
          </a:prstGeom>
          <a:solidFill>
            <a:schemeClr val="tx2"/>
          </a:solidFill>
          <a:ln w="38100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uerre en  Ukrainienne 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2CBD117F-E9EC-490E-933E-582E3FA8B9F7}"/>
              </a:ext>
            </a:extLst>
          </p:cNvPr>
          <p:cNvSpPr txBox="1"/>
          <p:nvPr/>
        </p:nvSpPr>
        <p:spPr>
          <a:xfrm>
            <a:off x="0" y="3083943"/>
            <a:ext cx="14714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ta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1200" cap="none" spc="0" normalizeH="0" baseline="0" noProof="0" dirty="0">
              <a:ln>
                <a:noFill/>
              </a:ln>
              <a:solidFill>
                <a:srgbClr val="0A00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BA96E49C-98FB-44D4-80DC-71956B1AAC60}"/>
              </a:ext>
            </a:extLst>
          </p:cNvPr>
          <p:cNvSpPr txBox="1"/>
          <p:nvPr/>
        </p:nvSpPr>
        <p:spPr>
          <a:xfrm>
            <a:off x="1173547" y="1845245"/>
            <a:ext cx="3563916" cy="1815882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0A00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France et l’Europe ont une dépendance industrielle et technologique. Certaines chaînes de valeurs sont fragilisées dont les APIs et certains intermédiaire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0A00B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A40E4CF0-2F45-4D2F-8560-3ACF49AB0C29}"/>
              </a:ext>
            </a:extLst>
          </p:cNvPr>
          <p:cNvSpPr txBox="1"/>
          <p:nvPr/>
        </p:nvSpPr>
        <p:spPr>
          <a:xfrm>
            <a:off x="5128577" y="1845245"/>
            <a:ext cx="3978444" cy="1815882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0A00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aire de l'Europe un continent « climatiquement neutre » d'ici 2050**. Ce qui  impose de basculer par étapes tous les processus de production et tous les produits vers des technologies climatiquement neutres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91A75C3E-49A8-41B4-96C7-750B377862BD}"/>
              </a:ext>
            </a:extLst>
          </p:cNvPr>
          <p:cNvSpPr txBox="1"/>
          <p:nvPr/>
        </p:nvSpPr>
        <p:spPr>
          <a:xfrm>
            <a:off x="9498135" y="1859340"/>
            <a:ext cx="2410625" cy="156966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0A00B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 France et l’Europe ont une forte dépendance énergétiqu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50D7A12-5972-4EFA-BDAF-49B2470EE1F3}"/>
              </a:ext>
            </a:extLst>
          </p:cNvPr>
          <p:cNvSpPr txBox="1"/>
          <p:nvPr/>
        </p:nvSpPr>
        <p:spPr>
          <a:xfrm>
            <a:off x="1370047" y="6473780"/>
            <a:ext cx="77369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* Mettre fin aux GES ( Gaz a Effet de Serre) en Europe d’ici 2050, avec 55% de GES en moins dès 2030 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E4547D7B-794D-115E-D495-8A797256528D}"/>
              </a:ext>
            </a:extLst>
          </p:cNvPr>
          <p:cNvSpPr txBox="1"/>
          <p:nvPr/>
        </p:nvSpPr>
        <p:spPr>
          <a:xfrm>
            <a:off x="3686351" y="4093842"/>
            <a:ext cx="7635550" cy="1569660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A00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Que représente le secteur de la santé dans les émissions de GES en France  ?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600" dirty="0">
              <a:solidFill>
                <a:srgbClr val="0A00B9"/>
              </a:solidFill>
              <a:latin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~ 2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~ 5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~ 8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~ 12 %</a:t>
            </a:r>
            <a:endParaRPr lang="fr-FR" sz="1600" dirty="0">
              <a:solidFill>
                <a:srgbClr val="0A00B9"/>
              </a:solidFill>
              <a:latin typeface="arial" panose="020B0604020202020204" pitchFamily="34" charset="0"/>
            </a:endParaRPr>
          </a:p>
        </p:txBody>
      </p:sp>
      <p:pic>
        <p:nvPicPr>
          <p:cNvPr id="44" name="Picture 4" descr="Afficher l’image source">
            <a:extLst>
              <a:ext uri="{FF2B5EF4-FFF2-40B4-BE49-F238E27FC236}">
                <a16:creationId xmlns:a16="http://schemas.microsoft.com/office/drawing/2014/main" id="{FBBE3B98-5AEC-0048-C72C-B6C493F294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465" y="1727471"/>
            <a:ext cx="546618" cy="546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" descr="Afficher l’image source">
            <a:extLst>
              <a:ext uri="{FF2B5EF4-FFF2-40B4-BE49-F238E27FC236}">
                <a16:creationId xmlns:a16="http://schemas.microsoft.com/office/drawing/2014/main" id="{2655AA01-C5C5-3D8A-0ECD-C761707D92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345" y="2302620"/>
            <a:ext cx="565220" cy="56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82210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DAFBF98-494B-1C76-7584-D1F14C4D3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385" y="258793"/>
            <a:ext cx="9465215" cy="777877"/>
          </a:xfrm>
        </p:spPr>
        <p:txBody>
          <a:bodyPr/>
          <a:lstStyle/>
          <a:p>
            <a:r>
              <a:rPr lang="fr-FR" sz="2000" dirty="0"/>
              <a:t>Selon le rapport « The Shift Projet » de novembre 2021, le secteur de la santé représente en France 46 M tonnes CO2 émis, soit environ 8 % du total national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9489D3A-960E-BEA6-376A-7F0453C119C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347728C-CFCD-4872-475C-D4BB4C799AD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6</a:t>
            </a:fld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F9A7CC8C-D745-BF07-7824-F4FB974E8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75184" y="1313466"/>
            <a:ext cx="9103456" cy="4950754"/>
          </a:xfrm>
          <a:prstGeom prst="rect">
            <a:avLst/>
          </a:prstGeom>
        </p:spPr>
      </p:pic>
      <p:sp>
        <p:nvSpPr>
          <p:cNvPr id="11" name="Titre 1">
            <a:extLst>
              <a:ext uri="{FF2B5EF4-FFF2-40B4-BE49-F238E27FC236}">
                <a16:creationId xmlns:a16="http://schemas.microsoft.com/office/drawing/2014/main" id="{8BFA2971-76F9-7BCB-4AC6-FDFEC438D7CD}"/>
              </a:ext>
            </a:extLst>
          </p:cNvPr>
          <p:cNvSpPr txBox="1">
            <a:spLocks/>
          </p:cNvSpPr>
          <p:nvPr/>
        </p:nvSpPr>
        <p:spPr>
          <a:xfrm>
            <a:off x="1117504" y="6264220"/>
            <a:ext cx="10718896" cy="35826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200" b="0" dirty="0"/>
              <a:t>Source : Décarboner la santé pour soigner durablement dans le cadre du plan de transformation de l’économie française. The Shift Project. Novembre 2021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30A73130-D58F-010B-2776-50D798FA8C15}"/>
              </a:ext>
            </a:extLst>
          </p:cNvPr>
          <p:cNvSpPr txBox="1"/>
          <p:nvPr/>
        </p:nvSpPr>
        <p:spPr>
          <a:xfrm>
            <a:off x="213360" y="2214398"/>
            <a:ext cx="3088640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fr-FR" dirty="0">
              <a:solidFill>
                <a:schemeClr val="tx2"/>
              </a:solidFill>
            </a:endParaRPr>
          </a:p>
          <a:p>
            <a:r>
              <a:rPr lang="fr-FR" dirty="0">
                <a:solidFill>
                  <a:schemeClr val="tx2"/>
                </a:solidFill>
              </a:rPr>
              <a:t>Plus de 85% qui sont des</a:t>
            </a:r>
          </a:p>
          <a:p>
            <a:r>
              <a:rPr lang="fr-FR" dirty="0">
                <a:solidFill>
                  <a:schemeClr val="tx2"/>
                </a:solidFill>
              </a:rPr>
              <a:t>Émissions Indirectes</a:t>
            </a:r>
          </a:p>
          <a:p>
            <a:endParaRPr lang="fr-FR" dirty="0">
              <a:solidFill>
                <a:schemeClr val="tx2"/>
              </a:solidFill>
            </a:endParaRPr>
          </a:p>
          <a:p>
            <a:endParaRPr lang="fr-FR" dirty="0">
              <a:solidFill>
                <a:schemeClr val="tx2"/>
              </a:solidFill>
            </a:endParaRPr>
          </a:p>
          <a:p>
            <a:r>
              <a:rPr lang="fr-FR" dirty="0">
                <a:solidFill>
                  <a:schemeClr val="tx2"/>
                </a:solidFill>
              </a:rPr>
              <a:t>GES : Le poids majeur des produits de santé : </a:t>
            </a:r>
          </a:p>
          <a:p>
            <a:endParaRPr lang="fr-FR" dirty="0">
              <a:solidFill>
                <a:schemeClr val="tx2"/>
              </a:solidFill>
            </a:endParaRPr>
          </a:p>
          <a:p>
            <a:r>
              <a:rPr lang="fr-FR" dirty="0">
                <a:solidFill>
                  <a:schemeClr val="tx2"/>
                </a:solidFill>
              </a:rPr>
              <a:t>L’achat des médicaments et des dispositifs médicaux représentent 54% des GES</a:t>
            </a:r>
          </a:p>
        </p:txBody>
      </p:sp>
    </p:spTree>
    <p:extLst>
      <p:ext uri="{BB962C8B-B14F-4D97-AF65-F5344CB8AC3E}">
        <p14:creationId xmlns:p14="http://schemas.microsoft.com/office/powerpoint/2010/main" val="3317783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B1500AA-A351-277C-D583-EF5116217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025" y="322842"/>
            <a:ext cx="10196735" cy="777877"/>
          </a:xfrm>
        </p:spPr>
        <p:txBody>
          <a:bodyPr/>
          <a:lstStyle/>
          <a:p>
            <a:pPr lvl="0"/>
            <a:r>
              <a:rPr lang="fr-FR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ment réduire la dépendance et la vulnérabilité de la France et de l'Union Européenne en matière de sécurité sanitaire ? </a:t>
            </a:r>
            <a:br>
              <a:rPr lang="fr-FR" sz="200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fr-FR" sz="2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elles pistes envisageables pour la chaine amont de la production pharmaceutique ?</a:t>
            </a:r>
            <a:br>
              <a:rPr lang="fr-FR" sz="20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fr-FR" sz="2000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7671348-C5CA-7F21-7930-DFBBFC82E92D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 dirty="0"/>
              <a:t>00/00/2021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4B9DED-DD64-0915-F5DD-92E69A223C8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C8E7E1-3543-E300-C61F-7351CB26DB7F}"/>
              </a:ext>
            </a:extLst>
          </p:cNvPr>
          <p:cNvSpPr/>
          <p:nvPr/>
        </p:nvSpPr>
        <p:spPr>
          <a:xfrm>
            <a:off x="542385" y="1422400"/>
            <a:ext cx="1631855" cy="7778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Filière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EFD3F2-E5AE-F3AA-F61B-2C6CE483BDE0}"/>
              </a:ext>
            </a:extLst>
          </p:cNvPr>
          <p:cNvSpPr/>
          <p:nvPr/>
        </p:nvSpPr>
        <p:spPr>
          <a:xfrm>
            <a:off x="542385" y="2983210"/>
            <a:ext cx="1631855" cy="7778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Innovation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C2097CF-FE58-06DC-48E8-27041CAF3EAA}"/>
              </a:ext>
            </a:extLst>
          </p:cNvPr>
          <p:cNvSpPr/>
          <p:nvPr/>
        </p:nvSpPr>
        <p:spPr>
          <a:xfrm>
            <a:off x="542385" y="4745932"/>
            <a:ext cx="1631855" cy="77787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Nouveau Cadre </a:t>
            </a:r>
          </a:p>
        </p:txBody>
      </p:sp>
      <p:sp>
        <p:nvSpPr>
          <p:cNvPr id="12" name="Rectangle : coins arrondis 11">
            <a:extLst>
              <a:ext uri="{FF2B5EF4-FFF2-40B4-BE49-F238E27FC236}">
                <a16:creationId xmlns:a16="http://schemas.microsoft.com/office/drawing/2014/main" id="{54F05C01-7DBF-E3A7-1338-68181499BE9C}"/>
              </a:ext>
            </a:extLst>
          </p:cNvPr>
          <p:cNvSpPr/>
          <p:nvPr/>
        </p:nvSpPr>
        <p:spPr>
          <a:xfrm>
            <a:off x="2987040" y="1308418"/>
            <a:ext cx="8422640" cy="1005840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Identifier les zones de vulnérabilité d’approvisionnement en APIs et/ou médicaments pour l’industrie pharmaceutique européen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Publier une liste de molécules critiques ( criticité médicale et criticité industrielle) </a:t>
            </a:r>
          </a:p>
        </p:txBody>
      </p:sp>
      <p:sp>
        <p:nvSpPr>
          <p:cNvPr id="13" name="Rectangle : coins arrondis 12">
            <a:extLst>
              <a:ext uri="{FF2B5EF4-FFF2-40B4-BE49-F238E27FC236}">
                <a16:creationId xmlns:a16="http://schemas.microsoft.com/office/drawing/2014/main" id="{570A0687-1882-FE8B-DD40-ACF4259CD27B}"/>
              </a:ext>
            </a:extLst>
          </p:cNvPr>
          <p:cNvSpPr/>
          <p:nvPr/>
        </p:nvSpPr>
        <p:spPr>
          <a:xfrm>
            <a:off x="2987040" y="2826543"/>
            <a:ext cx="8422640" cy="1005840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chemeClr val="tx2"/>
                </a:solidFill>
              </a:rPr>
              <a:t>Soutenir, accélérer l’innovation dans les procédés industriels 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Nouvelles technologies de la chimie moderne ( compétitivité)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Nouvelles technologies pour répondre aux enjeux de la transition écologique  </a:t>
            </a:r>
          </a:p>
        </p:txBody>
      </p:sp>
      <p:sp>
        <p:nvSpPr>
          <p:cNvPr id="14" name="Rectangle : coins arrondis 13">
            <a:extLst>
              <a:ext uri="{FF2B5EF4-FFF2-40B4-BE49-F238E27FC236}">
                <a16:creationId xmlns:a16="http://schemas.microsoft.com/office/drawing/2014/main" id="{CB508FB0-9A19-64BF-85F8-2873A3A9920C}"/>
              </a:ext>
            </a:extLst>
          </p:cNvPr>
          <p:cNvSpPr/>
          <p:nvPr/>
        </p:nvSpPr>
        <p:spPr>
          <a:xfrm>
            <a:off x="2951480" y="4252377"/>
            <a:ext cx="8493760" cy="1984330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Cadre EU «  </a:t>
            </a:r>
            <a:r>
              <a:rPr lang="fr-FR" sz="1600" dirty="0" err="1">
                <a:solidFill>
                  <a:schemeClr val="tx2"/>
                </a:solidFill>
              </a:rPr>
              <a:t>level</a:t>
            </a:r>
            <a:r>
              <a:rPr lang="fr-FR" sz="1600" dirty="0">
                <a:solidFill>
                  <a:schemeClr val="tx2"/>
                </a:solidFill>
              </a:rPr>
              <a:t> </a:t>
            </a:r>
            <a:r>
              <a:rPr lang="fr-FR" sz="1600" dirty="0" err="1">
                <a:solidFill>
                  <a:schemeClr val="tx2"/>
                </a:solidFill>
              </a:rPr>
              <a:t>playing</a:t>
            </a:r>
            <a:r>
              <a:rPr lang="fr-FR" sz="1600" dirty="0">
                <a:solidFill>
                  <a:schemeClr val="tx2"/>
                </a:solidFill>
              </a:rPr>
              <a:t> </a:t>
            </a:r>
            <a:r>
              <a:rPr lang="fr-FR" sz="1600" dirty="0" err="1">
                <a:solidFill>
                  <a:schemeClr val="tx2"/>
                </a:solidFill>
              </a:rPr>
              <a:t>field</a:t>
            </a:r>
            <a:r>
              <a:rPr lang="fr-FR" sz="1600" dirty="0">
                <a:solidFill>
                  <a:schemeClr val="tx2"/>
                </a:solidFill>
              </a:rPr>
              <a:t> » des règles du jeu équivalentes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Cadre France :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Le  prix des médicaments et plus particulièrement ceux matures doit être adapté en prenant en compte l’empreinte industrielle, environnementale et sociale au niveau européen ou de sécurisation de l’approvisionnement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2"/>
                </a:solidFill>
              </a:rPr>
              <a:t>Le cadre/critères des appels d’offres des marchés publics ( critère environnemental obligatoire loi climat ( Aout 26)  </a:t>
            </a:r>
          </a:p>
        </p:txBody>
      </p:sp>
      <p:sp>
        <p:nvSpPr>
          <p:cNvPr id="15" name="Titre 1">
            <a:extLst>
              <a:ext uri="{FF2B5EF4-FFF2-40B4-BE49-F238E27FC236}">
                <a16:creationId xmlns:a16="http://schemas.microsoft.com/office/drawing/2014/main" id="{3214448B-A2C8-62E7-6068-7E8D236EF3D6}"/>
              </a:ext>
            </a:extLst>
          </p:cNvPr>
          <p:cNvSpPr txBox="1">
            <a:spLocks/>
          </p:cNvSpPr>
          <p:nvPr/>
        </p:nvSpPr>
        <p:spPr>
          <a:xfrm>
            <a:off x="1838912" y="6360590"/>
            <a:ext cx="10718896" cy="35826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200" b="0" dirty="0"/>
              <a:t>Source : Rapport du Haut commissariats au plan  Les vulnérabilités d’approvisionnement en produits de santé Décembre 2021 </a:t>
            </a:r>
          </a:p>
          <a:p>
            <a:r>
              <a:rPr lang="fr-FR" sz="1200" b="0" dirty="0"/>
              <a:t>Rapport SICOS Etude des vulnérabilités d’approvisionnement en APIs pour l’industrie pharmaceutique européenne  Juillet 2021</a:t>
            </a:r>
          </a:p>
        </p:txBody>
      </p:sp>
    </p:spTree>
    <p:extLst>
      <p:ext uri="{BB962C8B-B14F-4D97-AF65-F5344CB8AC3E}">
        <p14:creationId xmlns:p14="http://schemas.microsoft.com/office/powerpoint/2010/main" val="23338092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>
            <a:extLst>
              <a:ext uri="{FF2B5EF4-FFF2-40B4-BE49-F238E27FC236}">
                <a16:creationId xmlns:a16="http://schemas.microsoft.com/office/drawing/2014/main" id="{8E61E05B-5B6E-46AC-B01D-912891937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255C0DD9-1A43-46F3-9891-2A123A3506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ctr"/>
            <a:r>
              <a:rPr lang="fr-FR" sz="3600" dirty="0"/>
              <a:t>MERCI POUR VOTRE ATTENTION </a:t>
            </a:r>
          </a:p>
          <a:p>
            <a:pPr algn="ctr"/>
            <a:endParaRPr lang="fr-FR" sz="3600" dirty="0"/>
          </a:p>
          <a:p>
            <a:pPr algn="ctr"/>
            <a:r>
              <a:rPr lang="fr-FR" sz="3600" dirty="0"/>
              <a:t>QUESTIONS 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D05DB10-179A-4018-974C-55AC9726B16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fr-FR"/>
              <a:t>00/00/2021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D7177BA-6326-4862-8437-32CCF4CBDA5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/>
              <a:t>P. </a:t>
            </a:r>
            <a:fld id="{48F1853F-86FA-42BD-A046-4DB51B3E894D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8CBFA64-DE92-4D4F-AF89-9FBE65CC5E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Document </a:t>
            </a:r>
            <a:r>
              <a:rPr lang="fr-FR" dirty="0" err="1"/>
              <a:t>na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123158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QOQs.vTt2z7kFYDbke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Thème Office">
  <a:themeElements>
    <a:clrScheme name="EUROAPI">
      <a:dk1>
        <a:sysClr val="windowText" lastClr="000000"/>
      </a:dk1>
      <a:lt1>
        <a:sysClr val="window" lastClr="FFFFFF"/>
      </a:lt1>
      <a:dk2>
        <a:srgbClr val="0A00B9"/>
      </a:dk2>
      <a:lt2>
        <a:srgbClr val="B4B4C3"/>
      </a:lt2>
      <a:accent1>
        <a:srgbClr val="FF5F7D"/>
      </a:accent1>
      <a:accent2>
        <a:srgbClr val="14BED2"/>
      </a:accent2>
      <a:accent3>
        <a:srgbClr val="0A00B9"/>
      </a:accent3>
      <a:accent4>
        <a:srgbClr val="B4B4C3"/>
      </a:accent4>
      <a:accent5>
        <a:srgbClr val="FF5F7D"/>
      </a:accent5>
      <a:accent6>
        <a:srgbClr val="14BED2"/>
      </a:accent6>
      <a:hlink>
        <a:srgbClr val="000000"/>
      </a:hlink>
      <a:folHlink>
        <a:srgbClr val="000000"/>
      </a:folHlink>
    </a:clrScheme>
    <a:fontScheme name="euroapi-averta">
      <a:majorFont>
        <a:latin typeface="Averta-Bold"/>
        <a:ea typeface=""/>
        <a:cs typeface=""/>
      </a:majorFont>
      <a:minorFont>
        <a:latin typeface="Averta-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UROAPI_CorporateDeck-euroapi-police-v3 with all comments.potx" id="{00530999-AAFA-4931-A0D5-D8F2E8106B7E}" vid="{3965B3E8-99E7-4A21-AF42-C060661FB50B}"/>
    </a:ext>
  </a:extLst>
</a:theme>
</file>

<file path=ppt/theme/theme2.xml><?xml version="1.0" encoding="utf-8"?>
<a:theme xmlns:a="http://schemas.openxmlformats.org/drawingml/2006/main" name="2_Thème Office">
  <a:themeElements>
    <a:clrScheme name="EUROAPI">
      <a:dk1>
        <a:sysClr val="windowText" lastClr="000000"/>
      </a:dk1>
      <a:lt1>
        <a:sysClr val="window" lastClr="FFFFFF"/>
      </a:lt1>
      <a:dk2>
        <a:srgbClr val="0A00B9"/>
      </a:dk2>
      <a:lt2>
        <a:srgbClr val="B4B4C3"/>
      </a:lt2>
      <a:accent1>
        <a:srgbClr val="FF5F7D"/>
      </a:accent1>
      <a:accent2>
        <a:srgbClr val="14BED2"/>
      </a:accent2>
      <a:accent3>
        <a:srgbClr val="0A00B9"/>
      </a:accent3>
      <a:accent4>
        <a:srgbClr val="B4B4C3"/>
      </a:accent4>
      <a:accent5>
        <a:srgbClr val="FF5F7D"/>
      </a:accent5>
      <a:accent6>
        <a:srgbClr val="14BED2"/>
      </a:accent6>
      <a:hlink>
        <a:srgbClr val="000000"/>
      </a:hlink>
      <a:folHlink>
        <a:srgbClr val="000000"/>
      </a:folHlink>
    </a:clrScheme>
    <a:fontScheme name="EUROAP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MP CYCLE TIMELINE" id="{ADA00311-4551-44B2-835E-1B0901D34D04}" vid="{7B1579C1-9092-478E-91EA-53BEDCBE9DF9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54bb4ca-eab9-49ea-ac08-59bc54b5c517">
      <UserInfo>
        <DisplayName>GORGOL, Géraldine /FR</DisplayName>
        <AccountId>12</AccountId>
        <AccountType/>
      </UserInfo>
      <UserInfo>
        <DisplayName>Veronique BALAY</DisplayName>
        <AccountId>627</AccountId>
        <AccountType/>
      </UserInfo>
      <UserInfo>
        <DisplayName>DEHENES, Tamas /HU</DisplayName>
        <AccountId>628</AccountId>
        <AccountType/>
      </UserInfo>
      <UserInfo>
        <DisplayName>Galambos, Vanda /HU</DisplayName>
        <AccountId>29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66C7FBB9453945A35D582AE2E2FBB2" ma:contentTypeVersion="15" ma:contentTypeDescription="Create a new document." ma:contentTypeScope="" ma:versionID="876370383452fa750ef138e1717bee2e">
  <xsd:schema xmlns:xsd="http://www.w3.org/2001/XMLSchema" xmlns:xs="http://www.w3.org/2001/XMLSchema" xmlns:p="http://schemas.microsoft.com/office/2006/metadata/properties" xmlns:ns2="f54bb4ca-eab9-49ea-ac08-59bc54b5c517" xmlns:ns3="2cebdb05-9a5d-4f30-acfc-c2ff4861a2f0" targetNamespace="http://schemas.microsoft.com/office/2006/metadata/properties" ma:root="true" ma:fieldsID="df79c48dc3f7b6df2e79d16eb6158644" ns2:_="" ns3:_="">
    <xsd:import namespace="f54bb4ca-eab9-49ea-ac08-59bc54b5c517"/>
    <xsd:import namespace="2cebdb05-9a5d-4f30-acfc-c2ff4861a2f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4bb4ca-eab9-49ea-ac08-59bc54b5c51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cebdb05-9a5d-4f30-acfc-c2ff4861a2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22CC2E8-FFC8-4279-8162-99E73449BA1D}">
  <ds:schemaRefs>
    <ds:schemaRef ds:uri="http://purl.org/dc/dcmitype/"/>
    <ds:schemaRef ds:uri="http://schemas.microsoft.com/office/2006/metadata/properties"/>
    <ds:schemaRef ds:uri="2cebdb05-9a5d-4f30-acfc-c2ff4861a2f0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f54bb4ca-eab9-49ea-ac08-59bc54b5c517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99216D6-2F41-4A4E-9F82-F04BAE539A38}">
  <ds:schemaRefs>
    <ds:schemaRef ds:uri="2cebdb05-9a5d-4f30-acfc-c2ff4861a2f0"/>
    <ds:schemaRef ds:uri="f54bb4ca-eab9-49ea-ac08-59bc54b5c51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2616AD5-B8B1-4776-B126-0F17A660F83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UROAPI_CorporateDeck-euroapi-police-v3 with all comments</Template>
  <TotalTime>3283</TotalTime>
  <Words>889</Words>
  <Application>Microsoft Office PowerPoint</Application>
  <PresentationFormat>Grand écran</PresentationFormat>
  <Paragraphs>124</Paragraphs>
  <Slides>8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21" baseType="lpstr">
      <vt:lpstr>Lato</vt:lpstr>
      <vt:lpstr>Averta-Light</vt:lpstr>
      <vt:lpstr>Arial</vt:lpstr>
      <vt:lpstr>Averta-LightItalic</vt:lpstr>
      <vt:lpstr>Wingdings</vt:lpstr>
      <vt:lpstr>Roboto</vt:lpstr>
      <vt:lpstr>Arial</vt:lpstr>
      <vt:lpstr>Averta-Regular</vt:lpstr>
      <vt:lpstr>Averta-Bold</vt:lpstr>
      <vt:lpstr>Calibri</vt:lpstr>
      <vt:lpstr>Thème Office</vt:lpstr>
      <vt:lpstr>2_Thème Office</vt:lpstr>
      <vt:lpstr>Diapositive think-cell</vt:lpstr>
      <vt:lpstr>EUROAPI Le leader des principes actifs pharmaceutiques à petites molécules</vt:lpstr>
      <vt:lpstr>Présentation PowerPoint</vt:lpstr>
      <vt:lpstr>Les différentes crises ont été ou sont des révélateurs et des accélérateurs poussant les pouvoirs publics en France et en Europe à inscrire une stratégie industrielle et une stratégie en santé pour 2030. </vt:lpstr>
      <vt:lpstr>Présentation PowerPoint</vt:lpstr>
      <vt:lpstr>Les différentes crises ont été ou sont des révélateurs et des accélérateurs poussant les pouvoirs publics en France et en Europe à inscrire une stratégie industrielle et une stratégie en santé pour 2030. </vt:lpstr>
      <vt:lpstr>Selon le rapport « The Shift Projet » de novembre 2021, le secteur de la santé représente en France 46 M tonnes CO2 émis, soit environ 8 % du total national</vt:lpstr>
      <vt:lpstr>Comment réduire la dépendance et la vulnérabilité de la France et de l'Union Européenne en matière de sécurité sanitaire ?  Quelles pistes envisageables pour la chaine amont de la production pharmaceutique ? 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UROAPI The leading small molecules API player</dc:title>
  <dc:creator>Gorgol, Geraldine /FR</dc:creator>
  <cp:lastModifiedBy>CABRILLAC RIVES, Sylvia /FR</cp:lastModifiedBy>
  <cp:revision>9</cp:revision>
  <dcterms:created xsi:type="dcterms:W3CDTF">2021-09-17T08:19:57Z</dcterms:created>
  <dcterms:modified xsi:type="dcterms:W3CDTF">2022-09-14T10:1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66C7FBB9453945A35D582AE2E2FBB2</vt:lpwstr>
  </property>
</Properties>
</file>